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1"/>
  </p:sldMasterIdLst>
  <p:notesMasterIdLst>
    <p:notesMasterId r:id="rId3"/>
  </p:notesMasterIdLst>
  <p:sldIdLst>
    <p:sldId id="214747337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A2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0E2224C-BDDF-0C19-BA3A-B0D1DAD4ACF1}" v="3" dt="2026-01-23T13:38:58.67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100" d="100"/>
          <a:sy n="100" d="100"/>
        </p:scale>
        <p:origin x="-29" y="-8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479A97-7A68-47AC-B83F-30A7E1F5A6CC}" type="datetimeFigureOut">
              <a:rPr lang="en-US" smtClean="0"/>
              <a:t>1/30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70F0C5-535B-476A-B26D-DFB6FEFAA2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6222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96" t="7804" r="21743" b="41040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sp>
        <p:nvSpPr>
          <p:cNvPr id="7" name="Rectangle"/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alpha val="44000"/>
                </a:schemeClr>
              </a:gs>
              <a:gs pos="100000">
                <a:schemeClr val="accent1">
                  <a:satOff val="-36538"/>
                  <a:lumOff val="15294"/>
                  <a:alpha val="85000"/>
                </a:schemeClr>
              </a:gs>
            </a:gsLst>
            <a:lin ang="6600000" scaled="0"/>
          </a:gradFill>
          <a:ln w="12700">
            <a:miter lim="400000"/>
          </a:ln>
        </p:spPr>
        <p:txBody>
          <a:bodyPr lIns="71437" tIns="71437" rIns="71437" bIns="71437" anchor="ctr"/>
          <a:lstStyle/>
          <a:p>
            <a:pPr defTabSz="821531">
              <a:defRPr sz="3200" b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3200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1521" y="4241802"/>
            <a:ext cx="10728960" cy="748795"/>
          </a:xfrm>
          <a:solidFill>
            <a:schemeClr val="accent1">
              <a:alpha val="0"/>
            </a:schemeClr>
          </a:solidFill>
        </p:spPr>
        <p:txBody>
          <a:bodyPr anchor="t" anchorCtr="0"/>
          <a:lstStyle>
            <a:lvl1pPr algn="l">
              <a:defRPr sz="4266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31521" y="3907054"/>
            <a:ext cx="10728960" cy="329667"/>
          </a:xfrm>
          <a:solidFill>
            <a:schemeClr val="accent1">
              <a:alpha val="0"/>
            </a:schemeClr>
          </a:solidFill>
        </p:spPr>
        <p:txBody>
          <a:bodyPr anchor="ctr" anchorCtr="0"/>
          <a:lstStyle>
            <a:lvl1pPr marL="0" indent="0" algn="l">
              <a:buFont typeface="Times" pitchFamily="18" charset="0"/>
              <a:buNone/>
              <a:defRPr sz="12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DAT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31521" y="5638800"/>
            <a:ext cx="10728960" cy="365760"/>
          </a:xfrm>
        </p:spPr>
        <p:txBody>
          <a:bodyPr anchor="ctr"/>
          <a:lstStyle>
            <a:lvl1pPr marL="0" indent="0" algn="l">
              <a:buNone/>
              <a:defRPr sz="1400" b="0" spc="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169791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pos="397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6573819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, Right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14402" y="4965303"/>
            <a:ext cx="4407673" cy="897983"/>
          </a:xfrm>
        </p:spPr>
        <p:txBody>
          <a:bodyPr anchor="b" anchorCtr="0"/>
          <a:lstStyle>
            <a:lvl1pPr>
              <a:lnSpc>
                <a:spcPct val="85000"/>
              </a:lnSpc>
              <a:defRPr sz="2800" b="1" baseline="0">
                <a:latin typeface="+mn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914402" y="5940663"/>
            <a:ext cx="4407673" cy="47820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dirty="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Subtit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914402" y="4585210"/>
            <a:ext cx="4407673" cy="348286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Dat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5322074" y="0"/>
            <a:ext cx="6869925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690DDD7-BC40-45F8-9944-8723C75315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762000"/>
            <a:ext cx="1788289" cy="388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988643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D545910-EC58-4E59-AC9B-9F096DAB35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26357205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55564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26950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ight, Subhead &amp;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B912B5A-4EFE-4F10-9322-C971DDF230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256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B912B5A-4EFE-4F10-9322-C971DDF23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F43516-C935-4785-8727-EA48BADEDCC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FAB292-D9D0-4411-8456-90C02DB40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0" y="669544"/>
            <a:ext cx="6137512" cy="38139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38CA61B-8DBB-4395-9E9F-405E5CBF79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80695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insert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50516E-641C-4EFA-8CA7-4E0C60B42C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00" y="1050936"/>
            <a:ext cx="6137512" cy="38139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sz="1400"/>
              <a:t>Click to edit Master text styles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0280C66-47F5-4458-AA31-95CF3025E3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0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21262253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">
    <p:bg>
      <p:bgPr>
        <a:solidFill>
          <a:srgbClr val="FDD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4B521E-45B1-4DF5-AF83-CF81FF72A0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0129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4B521E-45B1-4DF5-AF83-CF81FF72A0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B9F01BCD-D0E7-4C16-818C-FDF6C61207F4}"/>
              </a:ext>
            </a:extLst>
          </p:cNvPr>
          <p:cNvGrpSpPr/>
          <p:nvPr userDrawn="1"/>
        </p:nvGrpSpPr>
        <p:grpSpPr>
          <a:xfrm>
            <a:off x="6591045" y="2239972"/>
            <a:ext cx="2452738" cy="2728580"/>
            <a:chOff x="6953285" y="3278976"/>
            <a:chExt cx="1506831" cy="168246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35AD732-4189-4F7D-8A59-BEA1A0C7469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91345" y="3278976"/>
              <a:ext cx="1168771" cy="1682464"/>
              <a:chOff x="5614264" y="2194216"/>
              <a:chExt cx="2755900" cy="3967163"/>
            </a:xfrm>
          </p:grpSpPr>
          <p:sp>
            <p:nvSpPr>
              <p:cNvPr id="7" name="Freeform 55">
                <a:extLst>
                  <a:ext uri="{FF2B5EF4-FFF2-40B4-BE49-F238E27FC236}">
                    <a16:creationId xmlns:a16="http://schemas.microsoft.com/office/drawing/2014/main" id="{4E44469E-381F-4E01-A7CB-1C0D52CCB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4264" y="2194216"/>
                <a:ext cx="2755900" cy="3967163"/>
              </a:xfrm>
              <a:custGeom>
                <a:avLst/>
                <a:gdLst>
                  <a:gd name="T0" fmla="*/ 1484 w 1736"/>
                  <a:gd name="T1" fmla="*/ 1601 h 2499"/>
                  <a:gd name="T2" fmla="*/ 1675 w 1736"/>
                  <a:gd name="T3" fmla="*/ 999 h 2499"/>
                  <a:gd name="T4" fmla="*/ 1696 w 1736"/>
                  <a:gd name="T5" fmla="*/ 908 h 2499"/>
                  <a:gd name="T6" fmla="*/ 1705 w 1736"/>
                  <a:gd name="T7" fmla="*/ 815 h 2499"/>
                  <a:gd name="T8" fmla="*/ 1705 w 1736"/>
                  <a:gd name="T9" fmla="*/ 745 h 2499"/>
                  <a:gd name="T10" fmla="*/ 1690 w 1736"/>
                  <a:gd name="T11" fmla="*/ 632 h 2499"/>
                  <a:gd name="T12" fmla="*/ 1660 w 1736"/>
                  <a:gd name="T13" fmla="*/ 526 h 2499"/>
                  <a:gd name="T14" fmla="*/ 1614 w 1736"/>
                  <a:gd name="T15" fmla="*/ 424 h 2499"/>
                  <a:gd name="T16" fmla="*/ 1555 w 1736"/>
                  <a:gd name="T17" fmla="*/ 334 h 2499"/>
                  <a:gd name="T18" fmla="*/ 1484 w 1736"/>
                  <a:gd name="T19" fmla="*/ 252 h 2499"/>
                  <a:gd name="T20" fmla="*/ 1403 w 1736"/>
                  <a:gd name="T21" fmla="*/ 180 h 2499"/>
                  <a:gd name="T22" fmla="*/ 1310 w 1736"/>
                  <a:gd name="T23" fmla="*/ 122 h 2499"/>
                  <a:gd name="T24" fmla="*/ 1210 w 1736"/>
                  <a:gd name="T25" fmla="*/ 76 h 2499"/>
                  <a:gd name="T26" fmla="*/ 1103 w 1736"/>
                  <a:gd name="T27" fmla="*/ 46 h 2499"/>
                  <a:gd name="T28" fmla="*/ 990 w 1736"/>
                  <a:gd name="T29" fmla="*/ 32 h 2499"/>
                  <a:gd name="T30" fmla="*/ 914 w 1736"/>
                  <a:gd name="T31" fmla="*/ 32 h 2499"/>
                  <a:gd name="T32" fmla="*/ 801 w 1736"/>
                  <a:gd name="T33" fmla="*/ 46 h 2499"/>
                  <a:gd name="T34" fmla="*/ 693 w 1736"/>
                  <a:gd name="T35" fmla="*/ 76 h 2499"/>
                  <a:gd name="T36" fmla="*/ 593 w 1736"/>
                  <a:gd name="T37" fmla="*/ 122 h 2499"/>
                  <a:gd name="T38" fmla="*/ 500 w 1736"/>
                  <a:gd name="T39" fmla="*/ 180 h 2499"/>
                  <a:gd name="T40" fmla="*/ 419 w 1736"/>
                  <a:gd name="T41" fmla="*/ 252 h 2499"/>
                  <a:gd name="T42" fmla="*/ 349 w 1736"/>
                  <a:gd name="T43" fmla="*/ 334 h 2499"/>
                  <a:gd name="T44" fmla="*/ 289 w 1736"/>
                  <a:gd name="T45" fmla="*/ 424 h 2499"/>
                  <a:gd name="T46" fmla="*/ 243 w 1736"/>
                  <a:gd name="T47" fmla="*/ 526 h 2499"/>
                  <a:gd name="T48" fmla="*/ 213 w 1736"/>
                  <a:gd name="T49" fmla="*/ 632 h 2499"/>
                  <a:gd name="T50" fmla="*/ 198 w 1736"/>
                  <a:gd name="T51" fmla="*/ 745 h 2499"/>
                  <a:gd name="T52" fmla="*/ 197 w 1736"/>
                  <a:gd name="T53" fmla="*/ 882 h 2499"/>
                  <a:gd name="T54" fmla="*/ 265 w 1736"/>
                  <a:gd name="T55" fmla="*/ 1845 h 2499"/>
                  <a:gd name="T56" fmla="*/ 658 w 1736"/>
                  <a:gd name="T57" fmla="*/ 2188 h 2499"/>
                  <a:gd name="T58" fmla="*/ 198 w 1736"/>
                  <a:gd name="T59" fmla="*/ 1391 h 2499"/>
                  <a:gd name="T60" fmla="*/ 167 w 1736"/>
                  <a:gd name="T61" fmla="*/ 784 h 2499"/>
                  <a:gd name="T62" fmla="*/ 172 w 1736"/>
                  <a:gd name="T63" fmla="*/ 704 h 2499"/>
                  <a:gd name="T64" fmla="*/ 193 w 1736"/>
                  <a:gd name="T65" fmla="*/ 589 h 2499"/>
                  <a:gd name="T66" fmla="*/ 230 w 1736"/>
                  <a:gd name="T67" fmla="*/ 480 h 2499"/>
                  <a:gd name="T68" fmla="*/ 282 w 1736"/>
                  <a:gd name="T69" fmla="*/ 378 h 2499"/>
                  <a:gd name="T70" fmla="*/ 347 w 1736"/>
                  <a:gd name="T71" fmla="*/ 285 h 2499"/>
                  <a:gd name="T72" fmla="*/ 424 w 1736"/>
                  <a:gd name="T73" fmla="*/ 204 h 2499"/>
                  <a:gd name="T74" fmla="*/ 513 w 1736"/>
                  <a:gd name="T75" fmla="*/ 133 h 2499"/>
                  <a:gd name="T76" fmla="*/ 612 w 1736"/>
                  <a:gd name="T77" fmla="*/ 78 h 2499"/>
                  <a:gd name="T78" fmla="*/ 719 w 1736"/>
                  <a:gd name="T79" fmla="*/ 35 h 2499"/>
                  <a:gd name="T80" fmla="*/ 832 w 1736"/>
                  <a:gd name="T81" fmla="*/ 9 h 2499"/>
                  <a:gd name="T82" fmla="*/ 953 w 1736"/>
                  <a:gd name="T83" fmla="*/ 0 h 2499"/>
                  <a:gd name="T84" fmla="*/ 1032 w 1736"/>
                  <a:gd name="T85" fmla="*/ 4 h 2499"/>
                  <a:gd name="T86" fmla="*/ 1147 w 1736"/>
                  <a:gd name="T87" fmla="*/ 24 h 2499"/>
                  <a:gd name="T88" fmla="*/ 1256 w 1736"/>
                  <a:gd name="T89" fmla="*/ 61 h 2499"/>
                  <a:gd name="T90" fmla="*/ 1358 w 1736"/>
                  <a:gd name="T91" fmla="*/ 113 h 2499"/>
                  <a:gd name="T92" fmla="*/ 1451 w 1736"/>
                  <a:gd name="T93" fmla="*/ 180 h 2499"/>
                  <a:gd name="T94" fmla="*/ 1532 w 1736"/>
                  <a:gd name="T95" fmla="*/ 258 h 2499"/>
                  <a:gd name="T96" fmla="*/ 1601 w 1736"/>
                  <a:gd name="T97" fmla="*/ 346 h 2499"/>
                  <a:gd name="T98" fmla="*/ 1658 w 1736"/>
                  <a:gd name="T99" fmla="*/ 445 h 2499"/>
                  <a:gd name="T100" fmla="*/ 1701 w 1736"/>
                  <a:gd name="T101" fmla="*/ 552 h 2499"/>
                  <a:gd name="T102" fmla="*/ 1727 w 1736"/>
                  <a:gd name="T103" fmla="*/ 665 h 2499"/>
                  <a:gd name="T104" fmla="*/ 1736 w 1736"/>
                  <a:gd name="T105" fmla="*/ 784 h 2499"/>
                  <a:gd name="T106" fmla="*/ 1733 w 1736"/>
                  <a:gd name="T107" fmla="*/ 849 h 2499"/>
                  <a:gd name="T108" fmla="*/ 1720 w 1736"/>
                  <a:gd name="T109" fmla="*/ 945 h 2499"/>
                  <a:gd name="T110" fmla="*/ 1694 w 1736"/>
                  <a:gd name="T111" fmla="*/ 1038 h 2499"/>
                  <a:gd name="T112" fmla="*/ 1625 w 1736"/>
                  <a:gd name="T113" fmla="*/ 2499 h 2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36" h="2499">
                    <a:moveTo>
                      <a:pt x="1625" y="2499"/>
                    </a:moveTo>
                    <a:lnTo>
                      <a:pt x="1484" y="1603"/>
                    </a:lnTo>
                    <a:lnTo>
                      <a:pt x="1484" y="1601"/>
                    </a:lnTo>
                    <a:lnTo>
                      <a:pt x="1664" y="1028"/>
                    </a:lnTo>
                    <a:lnTo>
                      <a:pt x="1664" y="1028"/>
                    </a:lnTo>
                    <a:lnTo>
                      <a:pt x="1675" y="999"/>
                    </a:lnTo>
                    <a:lnTo>
                      <a:pt x="1683" y="969"/>
                    </a:lnTo>
                    <a:lnTo>
                      <a:pt x="1690" y="939"/>
                    </a:lnTo>
                    <a:lnTo>
                      <a:pt x="1696" y="908"/>
                    </a:lnTo>
                    <a:lnTo>
                      <a:pt x="1699" y="878"/>
                    </a:lnTo>
                    <a:lnTo>
                      <a:pt x="1703" y="847"/>
                    </a:lnTo>
                    <a:lnTo>
                      <a:pt x="1705" y="815"/>
                    </a:lnTo>
                    <a:lnTo>
                      <a:pt x="1705" y="784"/>
                    </a:lnTo>
                    <a:lnTo>
                      <a:pt x="1705" y="784"/>
                    </a:lnTo>
                    <a:lnTo>
                      <a:pt x="1705" y="745"/>
                    </a:lnTo>
                    <a:lnTo>
                      <a:pt x="1701" y="708"/>
                    </a:lnTo>
                    <a:lnTo>
                      <a:pt x="1697" y="669"/>
                    </a:lnTo>
                    <a:lnTo>
                      <a:pt x="1690" y="632"/>
                    </a:lnTo>
                    <a:lnTo>
                      <a:pt x="1683" y="597"/>
                    </a:lnTo>
                    <a:lnTo>
                      <a:pt x="1671" y="560"/>
                    </a:lnTo>
                    <a:lnTo>
                      <a:pt x="1660" y="526"/>
                    </a:lnTo>
                    <a:lnTo>
                      <a:pt x="1645" y="491"/>
                    </a:lnTo>
                    <a:lnTo>
                      <a:pt x="1631" y="458"/>
                    </a:lnTo>
                    <a:lnTo>
                      <a:pt x="1614" y="424"/>
                    </a:lnTo>
                    <a:lnTo>
                      <a:pt x="1595" y="393"/>
                    </a:lnTo>
                    <a:lnTo>
                      <a:pt x="1577" y="363"/>
                    </a:lnTo>
                    <a:lnTo>
                      <a:pt x="1555" y="334"/>
                    </a:lnTo>
                    <a:lnTo>
                      <a:pt x="1532" y="306"/>
                    </a:lnTo>
                    <a:lnTo>
                      <a:pt x="1510" y="278"/>
                    </a:lnTo>
                    <a:lnTo>
                      <a:pt x="1484" y="252"/>
                    </a:lnTo>
                    <a:lnTo>
                      <a:pt x="1458" y="226"/>
                    </a:lnTo>
                    <a:lnTo>
                      <a:pt x="1431" y="202"/>
                    </a:lnTo>
                    <a:lnTo>
                      <a:pt x="1403" y="180"/>
                    </a:lnTo>
                    <a:lnTo>
                      <a:pt x="1373" y="159"/>
                    </a:lnTo>
                    <a:lnTo>
                      <a:pt x="1342" y="139"/>
                    </a:lnTo>
                    <a:lnTo>
                      <a:pt x="1310" y="122"/>
                    </a:lnTo>
                    <a:lnTo>
                      <a:pt x="1279" y="106"/>
                    </a:lnTo>
                    <a:lnTo>
                      <a:pt x="1245" y="89"/>
                    </a:lnTo>
                    <a:lnTo>
                      <a:pt x="1210" y="76"/>
                    </a:lnTo>
                    <a:lnTo>
                      <a:pt x="1175" y="65"/>
                    </a:lnTo>
                    <a:lnTo>
                      <a:pt x="1140" y="54"/>
                    </a:lnTo>
                    <a:lnTo>
                      <a:pt x="1103" y="46"/>
                    </a:lnTo>
                    <a:lnTo>
                      <a:pt x="1066" y="39"/>
                    </a:lnTo>
                    <a:lnTo>
                      <a:pt x="1028" y="35"/>
                    </a:lnTo>
                    <a:lnTo>
                      <a:pt x="990" y="32"/>
                    </a:lnTo>
                    <a:lnTo>
                      <a:pt x="953" y="30"/>
                    </a:lnTo>
                    <a:lnTo>
                      <a:pt x="953" y="30"/>
                    </a:lnTo>
                    <a:lnTo>
                      <a:pt x="914" y="32"/>
                    </a:lnTo>
                    <a:lnTo>
                      <a:pt x="875" y="35"/>
                    </a:lnTo>
                    <a:lnTo>
                      <a:pt x="838" y="39"/>
                    </a:lnTo>
                    <a:lnTo>
                      <a:pt x="801" y="46"/>
                    </a:lnTo>
                    <a:lnTo>
                      <a:pt x="764" y="54"/>
                    </a:lnTo>
                    <a:lnTo>
                      <a:pt x="728" y="65"/>
                    </a:lnTo>
                    <a:lnTo>
                      <a:pt x="693" y="76"/>
                    </a:lnTo>
                    <a:lnTo>
                      <a:pt x="658" y="89"/>
                    </a:lnTo>
                    <a:lnTo>
                      <a:pt x="625" y="106"/>
                    </a:lnTo>
                    <a:lnTo>
                      <a:pt x="593" y="122"/>
                    </a:lnTo>
                    <a:lnTo>
                      <a:pt x="562" y="139"/>
                    </a:lnTo>
                    <a:lnTo>
                      <a:pt x="530" y="159"/>
                    </a:lnTo>
                    <a:lnTo>
                      <a:pt x="500" y="180"/>
                    </a:lnTo>
                    <a:lnTo>
                      <a:pt x="473" y="202"/>
                    </a:lnTo>
                    <a:lnTo>
                      <a:pt x="445" y="226"/>
                    </a:lnTo>
                    <a:lnTo>
                      <a:pt x="419" y="252"/>
                    </a:lnTo>
                    <a:lnTo>
                      <a:pt x="395" y="278"/>
                    </a:lnTo>
                    <a:lnTo>
                      <a:pt x="371" y="306"/>
                    </a:lnTo>
                    <a:lnTo>
                      <a:pt x="349" y="334"/>
                    </a:lnTo>
                    <a:lnTo>
                      <a:pt x="326" y="363"/>
                    </a:lnTo>
                    <a:lnTo>
                      <a:pt x="308" y="393"/>
                    </a:lnTo>
                    <a:lnTo>
                      <a:pt x="289" y="424"/>
                    </a:lnTo>
                    <a:lnTo>
                      <a:pt x="273" y="458"/>
                    </a:lnTo>
                    <a:lnTo>
                      <a:pt x="258" y="491"/>
                    </a:lnTo>
                    <a:lnTo>
                      <a:pt x="243" y="526"/>
                    </a:lnTo>
                    <a:lnTo>
                      <a:pt x="232" y="560"/>
                    </a:lnTo>
                    <a:lnTo>
                      <a:pt x="223" y="597"/>
                    </a:lnTo>
                    <a:lnTo>
                      <a:pt x="213" y="632"/>
                    </a:lnTo>
                    <a:lnTo>
                      <a:pt x="206" y="669"/>
                    </a:lnTo>
                    <a:lnTo>
                      <a:pt x="202" y="708"/>
                    </a:lnTo>
                    <a:lnTo>
                      <a:pt x="198" y="745"/>
                    </a:lnTo>
                    <a:lnTo>
                      <a:pt x="198" y="784"/>
                    </a:lnTo>
                    <a:lnTo>
                      <a:pt x="197" y="878"/>
                    </a:lnTo>
                    <a:lnTo>
                      <a:pt x="197" y="882"/>
                    </a:lnTo>
                    <a:lnTo>
                      <a:pt x="41" y="1360"/>
                    </a:lnTo>
                    <a:lnTo>
                      <a:pt x="226" y="1360"/>
                    </a:lnTo>
                    <a:lnTo>
                      <a:pt x="265" y="1845"/>
                    </a:lnTo>
                    <a:lnTo>
                      <a:pt x="632" y="1801"/>
                    </a:lnTo>
                    <a:lnTo>
                      <a:pt x="688" y="2183"/>
                    </a:lnTo>
                    <a:lnTo>
                      <a:pt x="658" y="2188"/>
                    </a:lnTo>
                    <a:lnTo>
                      <a:pt x="606" y="1834"/>
                    </a:lnTo>
                    <a:lnTo>
                      <a:pt x="237" y="1879"/>
                    </a:lnTo>
                    <a:lnTo>
                      <a:pt x="198" y="1391"/>
                    </a:lnTo>
                    <a:lnTo>
                      <a:pt x="0" y="1391"/>
                    </a:lnTo>
                    <a:lnTo>
                      <a:pt x="167" y="875"/>
                    </a:lnTo>
                    <a:lnTo>
                      <a:pt x="167" y="784"/>
                    </a:lnTo>
                    <a:lnTo>
                      <a:pt x="167" y="784"/>
                    </a:lnTo>
                    <a:lnTo>
                      <a:pt x="169" y="743"/>
                    </a:lnTo>
                    <a:lnTo>
                      <a:pt x="172" y="704"/>
                    </a:lnTo>
                    <a:lnTo>
                      <a:pt x="176" y="665"/>
                    </a:lnTo>
                    <a:lnTo>
                      <a:pt x="184" y="626"/>
                    </a:lnTo>
                    <a:lnTo>
                      <a:pt x="193" y="589"/>
                    </a:lnTo>
                    <a:lnTo>
                      <a:pt x="202" y="552"/>
                    </a:lnTo>
                    <a:lnTo>
                      <a:pt x="215" y="515"/>
                    </a:lnTo>
                    <a:lnTo>
                      <a:pt x="230" y="480"/>
                    </a:lnTo>
                    <a:lnTo>
                      <a:pt x="245" y="445"/>
                    </a:lnTo>
                    <a:lnTo>
                      <a:pt x="263" y="411"/>
                    </a:lnTo>
                    <a:lnTo>
                      <a:pt x="282" y="378"/>
                    </a:lnTo>
                    <a:lnTo>
                      <a:pt x="302" y="346"/>
                    </a:lnTo>
                    <a:lnTo>
                      <a:pt x="324" y="315"/>
                    </a:lnTo>
                    <a:lnTo>
                      <a:pt x="347" y="285"/>
                    </a:lnTo>
                    <a:lnTo>
                      <a:pt x="371" y="258"/>
                    </a:lnTo>
                    <a:lnTo>
                      <a:pt x="397" y="230"/>
                    </a:lnTo>
                    <a:lnTo>
                      <a:pt x="424" y="204"/>
                    </a:lnTo>
                    <a:lnTo>
                      <a:pt x="454" y="180"/>
                    </a:lnTo>
                    <a:lnTo>
                      <a:pt x="484" y="156"/>
                    </a:lnTo>
                    <a:lnTo>
                      <a:pt x="513" y="133"/>
                    </a:lnTo>
                    <a:lnTo>
                      <a:pt x="545" y="113"/>
                    </a:lnTo>
                    <a:lnTo>
                      <a:pt x="578" y="95"/>
                    </a:lnTo>
                    <a:lnTo>
                      <a:pt x="612" y="78"/>
                    </a:lnTo>
                    <a:lnTo>
                      <a:pt x="647" y="61"/>
                    </a:lnTo>
                    <a:lnTo>
                      <a:pt x="682" y="48"/>
                    </a:lnTo>
                    <a:lnTo>
                      <a:pt x="719" y="35"/>
                    </a:lnTo>
                    <a:lnTo>
                      <a:pt x="756" y="24"/>
                    </a:lnTo>
                    <a:lnTo>
                      <a:pt x="793" y="17"/>
                    </a:lnTo>
                    <a:lnTo>
                      <a:pt x="832" y="9"/>
                    </a:lnTo>
                    <a:lnTo>
                      <a:pt x="871" y="4"/>
                    </a:lnTo>
                    <a:lnTo>
                      <a:pt x="912" y="2"/>
                    </a:lnTo>
                    <a:lnTo>
                      <a:pt x="953" y="0"/>
                    </a:lnTo>
                    <a:lnTo>
                      <a:pt x="953" y="0"/>
                    </a:lnTo>
                    <a:lnTo>
                      <a:pt x="991" y="2"/>
                    </a:lnTo>
                    <a:lnTo>
                      <a:pt x="1032" y="4"/>
                    </a:lnTo>
                    <a:lnTo>
                      <a:pt x="1071" y="9"/>
                    </a:lnTo>
                    <a:lnTo>
                      <a:pt x="1110" y="17"/>
                    </a:lnTo>
                    <a:lnTo>
                      <a:pt x="1147" y="24"/>
                    </a:lnTo>
                    <a:lnTo>
                      <a:pt x="1184" y="35"/>
                    </a:lnTo>
                    <a:lnTo>
                      <a:pt x="1221" y="48"/>
                    </a:lnTo>
                    <a:lnTo>
                      <a:pt x="1256" y="61"/>
                    </a:lnTo>
                    <a:lnTo>
                      <a:pt x="1292" y="78"/>
                    </a:lnTo>
                    <a:lnTo>
                      <a:pt x="1325" y="95"/>
                    </a:lnTo>
                    <a:lnTo>
                      <a:pt x="1358" y="113"/>
                    </a:lnTo>
                    <a:lnTo>
                      <a:pt x="1390" y="133"/>
                    </a:lnTo>
                    <a:lnTo>
                      <a:pt x="1421" y="156"/>
                    </a:lnTo>
                    <a:lnTo>
                      <a:pt x="1451" y="180"/>
                    </a:lnTo>
                    <a:lnTo>
                      <a:pt x="1479" y="204"/>
                    </a:lnTo>
                    <a:lnTo>
                      <a:pt x="1507" y="230"/>
                    </a:lnTo>
                    <a:lnTo>
                      <a:pt x="1532" y="258"/>
                    </a:lnTo>
                    <a:lnTo>
                      <a:pt x="1557" y="285"/>
                    </a:lnTo>
                    <a:lnTo>
                      <a:pt x="1581" y="315"/>
                    </a:lnTo>
                    <a:lnTo>
                      <a:pt x="1601" y="346"/>
                    </a:lnTo>
                    <a:lnTo>
                      <a:pt x="1621" y="378"/>
                    </a:lnTo>
                    <a:lnTo>
                      <a:pt x="1642" y="411"/>
                    </a:lnTo>
                    <a:lnTo>
                      <a:pt x="1658" y="445"/>
                    </a:lnTo>
                    <a:lnTo>
                      <a:pt x="1673" y="480"/>
                    </a:lnTo>
                    <a:lnTo>
                      <a:pt x="1688" y="515"/>
                    </a:lnTo>
                    <a:lnTo>
                      <a:pt x="1701" y="552"/>
                    </a:lnTo>
                    <a:lnTo>
                      <a:pt x="1710" y="589"/>
                    </a:lnTo>
                    <a:lnTo>
                      <a:pt x="1720" y="626"/>
                    </a:lnTo>
                    <a:lnTo>
                      <a:pt x="1727" y="665"/>
                    </a:lnTo>
                    <a:lnTo>
                      <a:pt x="1733" y="704"/>
                    </a:lnTo>
                    <a:lnTo>
                      <a:pt x="1734" y="745"/>
                    </a:lnTo>
                    <a:lnTo>
                      <a:pt x="1736" y="784"/>
                    </a:lnTo>
                    <a:lnTo>
                      <a:pt x="1736" y="784"/>
                    </a:lnTo>
                    <a:lnTo>
                      <a:pt x="1734" y="817"/>
                    </a:lnTo>
                    <a:lnTo>
                      <a:pt x="1733" y="849"/>
                    </a:lnTo>
                    <a:lnTo>
                      <a:pt x="1731" y="882"/>
                    </a:lnTo>
                    <a:lnTo>
                      <a:pt x="1725" y="913"/>
                    </a:lnTo>
                    <a:lnTo>
                      <a:pt x="1720" y="945"/>
                    </a:lnTo>
                    <a:lnTo>
                      <a:pt x="1712" y="976"/>
                    </a:lnTo>
                    <a:lnTo>
                      <a:pt x="1703" y="1008"/>
                    </a:lnTo>
                    <a:lnTo>
                      <a:pt x="1694" y="1038"/>
                    </a:lnTo>
                    <a:lnTo>
                      <a:pt x="1516" y="1604"/>
                    </a:lnTo>
                    <a:lnTo>
                      <a:pt x="1657" y="2494"/>
                    </a:lnTo>
                    <a:lnTo>
                      <a:pt x="1625" y="249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1884EB90-856A-4B3D-8C41-380E81E27851}"/>
                  </a:ext>
                </a:extLst>
              </p:cNvPr>
              <p:cNvGrpSpPr/>
              <p:nvPr/>
            </p:nvGrpSpPr>
            <p:grpSpPr>
              <a:xfrm>
                <a:off x="6207989" y="2521241"/>
                <a:ext cx="1833563" cy="3140075"/>
                <a:chOff x="7651751" y="2178051"/>
                <a:chExt cx="1833563" cy="3140075"/>
              </a:xfrm>
            </p:grpSpPr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5FF9FA55-6F13-46E9-B9A9-A10B60C42C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475163"/>
                  <a:ext cx="49213" cy="46038"/>
                </a:xfrm>
                <a:prstGeom prst="rect">
                  <a:avLst/>
                </a:prstGeom>
                <a:solidFill>
                  <a:srgbClr val="5258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5E05CB57-E35B-471D-BA9D-6AE183DE80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575176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917B6F65-886C-4190-9FA3-150088DB41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6751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D04EF3EF-7492-4924-B3E4-4CB85BE293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775201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DB852891-76E9-4DE8-99BB-C456338C69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872038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76F966E4-BDBB-4EA2-AF2B-CE2D055C5C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972051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47D17988-145F-4083-A8C8-26E7E72E0F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072063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6132E3B0-8425-460B-B1F1-FCACFFD24B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172076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389052EF-3A92-42FF-A8F5-AE5C61CDE12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2720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reeform 240">
                  <a:extLst>
                    <a:ext uri="{FF2B5EF4-FFF2-40B4-BE49-F238E27FC236}">
                      <a16:creationId xmlns:a16="http://schemas.microsoft.com/office/drawing/2014/main" id="{2C35CD08-6BC0-4B8B-B687-87817D9AA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81938" y="2409826"/>
                  <a:ext cx="1373188" cy="1693863"/>
                </a:xfrm>
                <a:custGeom>
                  <a:avLst/>
                  <a:gdLst>
                    <a:gd name="T0" fmla="*/ 434 w 865"/>
                    <a:gd name="T1" fmla="*/ 0 h 1067"/>
                    <a:gd name="T2" fmla="*/ 389 w 865"/>
                    <a:gd name="T3" fmla="*/ 2 h 1067"/>
                    <a:gd name="T4" fmla="*/ 304 w 865"/>
                    <a:gd name="T5" fmla="*/ 19 h 1067"/>
                    <a:gd name="T6" fmla="*/ 226 w 865"/>
                    <a:gd name="T7" fmla="*/ 52 h 1067"/>
                    <a:gd name="T8" fmla="*/ 157 w 865"/>
                    <a:gd name="T9" fmla="*/ 98 h 1067"/>
                    <a:gd name="T10" fmla="*/ 98 w 865"/>
                    <a:gd name="T11" fmla="*/ 158 h 1067"/>
                    <a:gd name="T12" fmla="*/ 52 w 865"/>
                    <a:gd name="T13" fmla="*/ 226 h 1067"/>
                    <a:gd name="T14" fmla="*/ 20 w 865"/>
                    <a:gd name="T15" fmla="*/ 304 h 1067"/>
                    <a:gd name="T16" fmla="*/ 2 w 865"/>
                    <a:gd name="T17" fmla="*/ 387 h 1067"/>
                    <a:gd name="T18" fmla="*/ 0 w 865"/>
                    <a:gd name="T19" fmla="*/ 432 h 1067"/>
                    <a:gd name="T20" fmla="*/ 0 w 865"/>
                    <a:gd name="T21" fmla="*/ 456 h 1067"/>
                    <a:gd name="T22" fmla="*/ 6 w 865"/>
                    <a:gd name="T23" fmla="*/ 502 h 1067"/>
                    <a:gd name="T24" fmla="*/ 15 w 865"/>
                    <a:gd name="T25" fmla="*/ 547 h 1067"/>
                    <a:gd name="T26" fmla="*/ 30 w 865"/>
                    <a:gd name="T27" fmla="*/ 589 h 1067"/>
                    <a:gd name="T28" fmla="*/ 48 w 865"/>
                    <a:gd name="T29" fmla="*/ 630 h 1067"/>
                    <a:gd name="T30" fmla="*/ 70 w 865"/>
                    <a:gd name="T31" fmla="*/ 669 h 1067"/>
                    <a:gd name="T32" fmla="*/ 96 w 865"/>
                    <a:gd name="T33" fmla="*/ 704 h 1067"/>
                    <a:gd name="T34" fmla="*/ 141 w 865"/>
                    <a:gd name="T35" fmla="*/ 752 h 1067"/>
                    <a:gd name="T36" fmla="*/ 154 w 865"/>
                    <a:gd name="T37" fmla="*/ 763 h 1067"/>
                    <a:gd name="T38" fmla="*/ 178 w 865"/>
                    <a:gd name="T39" fmla="*/ 787 h 1067"/>
                    <a:gd name="T40" fmla="*/ 219 w 865"/>
                    <a:gd name="T41" fmla="*/ 843 h 1067"/>
                    <a:gd name="T42" fmla="*/ 246 w 865"/>
                    <a:gd name="T43" fmla="*/ 906 h 1067"/>
                    <a:gd name="T44" fmla="*/ 261 w 865"/>
                    <a:gd name="T45" fmla="*/ 975 h 1067"/>
                    <a:gd name="T46" fmla="*/ 263 w 865"/>
                    <a:gd name="T47" fmla="*/ 1067 h 1067"/>
                    <a:gd name="T48" fmla="*/ 602 w 865"/>
                    <a:gd name="T49" fmla="*/ 1067 h 1067"/>
                    <a:gd name="T50" fmla="*/ 602 w 865"/>
                    <a:gd name="T51" fmla="*/ 1012 h 1067"/>
                    <a:gd name="T52" fmla="*/ 610 w 865"/>
                    <a:gd name="T53" fmla="*/ 939 h 1067"/>
                    <a:gd name="T54" fmla="*/ 632 w 865"/>
                    <a:gd name="T55" fmla="*/ 873 h 1067"/>
                    <a:gd name="T56" fmla="*/ 667 w 865"/>
                    <a:gd name="T57" fmla="*/ 813 h 1067"/>
                    <a:gd name="T58" fmla="*/ 711 w 865"/>
                    <a:gd name="T59" fmla="*/ 763 h 1067"/>
                    <a:gd name="T60" fmla="*/ 724 w 865"/>
                    <a:gd name="T61" fmla="*/ 752 h 1067"/>
                    <a:gd name="T62" fmla="*/ 756 w 865"/>
                    <a:gd name="T63" fmla="*/ 721 h 1067"/>
                    <a:gd name="T64" fmla="*/ 784 w 865"/>
                    <a:gd name="T65" fmla="*/ 686 h 1067"/>
                    <a:gd name="T66" fmla="*/ 808 w 865"/>
                    <a:gd name="T67" fmla="*/ 648 h 1067"/>
                    <a:gd name="T68" fmla="*/ 828 w 865"/>
                    <a:gd name="T69" fmla="*/ 610 h 1067"/>
                    <a:gd name="T70" fmla="*/ 843 w 865"/>
                    <a:gd name="T71" fmla="*/ 569 h 1067"/>
                    <a:gd name="T72" fmla="*/ 856 w 865"/>
                    <a:gd name="T73" fmla="*/ 524 h 1067"/>
                    <a:gd name="T74" fmla="*/ 863 w 865"/>
                    <a:gd name="T75" fmla="*/ 480 h 1067"/>
                    <a:gd name="T76" fmla="*/ 865 w 865"/>
                    <a:gd name="T77" fmla="*/ 432 h 1067"/>
                    <a:gd name="T78" fmla="*/ 865 w 865"/>
                    <a:gd name="T79" fmla="*/ 409 h 1067"/>
                    <a:gd name="T80" fmla="*/ 856 w 865"/>
                    <a:gd name="T81" fmla="*/ 345 h 1067"/>
                    <a:gd name="T82" fmla="*/ 832 w 865"/>
                    <a:gd name="T83" fmla="*/ 263 h 1067"/>
                    <a:gd name="T84" fmla="*/ 791 w 865"/>
                    <a:gd name="T85" fmla="*/ 191 h 1067"/>
                    <a:gd name="T86" fmla="*/ 739 w 865"/>
                    <a:gd name="T87" fmla="*/ 126 h 1067"/>
                    <a:gd name="T88" fmla="*/ 674 w 865"/>
                    <a:gd name="T89" fmla="*/ 74 h 1067"/>
                    <a:gd name="T90" fmla="*/ 600 w 865"/>
                    <a:gd name="T91" fmla="*/ 33 h 1067"/>
                    <a:gd name="T92" fmla="*/ 521 w 865"/>
                    <a:gd name="T93" fmla="*/ 7 h 1067"/>
                    <a:gd name="T94" fmla="*/ 456 w 865"/>
                    <a:gd name="T95" fmla="*/ 0 h 1067"/>
                    <a:gd name="T96" fmla="*/ 434 w 865"/>
                    <a:gd name="T97" fmla="*/ 0 h 1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65" h="1067">
                      <a:moveTo>
                        <a:pt x="434" y="0"/>
                      </a:moveTo>
                      <a:lnTo>
                        <a:pt x="434" y="0"/>
                      </a:lnTo>
                      <a:lnTo>
                        <a:pt x="411" y="0"/>
                      </a:lnTo>
                      <a:lnTo>
                        <a:pt x="389" y="2"/>
                      </a:lnTo>
                      <a:lnTo>
                        <a:pt x="345" y="7"/>
                      </a:lnTo>
                      <a:lnTo>
                        <a:pt x="304" y="19"/>
                      </a:lnTo>
                      <a:lnTo>
                        <a:pt x="265" y="33"/>
                      </a:lnTo>
                      <a:lnTo>
                        <a:pt x="226" y="52"/>
                      </a:lnTo>
                      <a:lnTo>
                        <a:pt x="191" y="74"/>
                      </a:lnTo>
                      <a:lnTo>
                        <a:pt x="157" y="98"/>
                      </a:lnTo>
                      <a:lnTo>
                        <a:pt x="126" y="126"/>
                      </a:lnTo>
                      <a:lnTo>
                        <a:pt x="98" y="158"/>
                      </a:lnTo>
                      <a:lnTo>
                        <a:pt x="74" y="191"/>
                      </a:lnTo>
                      <a:lnTo>
                        <a:pt x="52" y="226"/>
                      </a:lnTo>
                      <a:lnTo>
                        <a:pt x="33" y="263"/>
                      </a:lnTo>
                      <a:lnTo>
                        <a:pt x="20" y="304"/>
                      </a:lnTo>
                      <a:lnTo>
                        <a:pt x="9" y="345"/>
                      </a:lnTo>
                      <a:lnTo>
                        <a:pt x="2" y="387"/>
                      </a:lnTo>
                      <a:lnTo>
                        <a:pt x="0" y="409"/>
                      </a:lnTo>
                      <a:lnTo>
                        <a:pt x="0" y="432"/>
                      </a:lnTo>
                      <a:lnTo>
                        <a:pt x="0" y="432"/>
                      </a:lnTo>
                      <a:lnTo>
                        <a:pt x="0" y="456"/>
                      </a:lnTo>
                      <a:lnTo>
                        <a:pt x="2" y="480"/>
                      </a:lnTo>
                      <a:lnTo>
                        <a:pt x="6" y="502"/>
                      </a:lnTo>
                      <a:lnTo>
                        <a:pt x="9" y="524"/>
                      </a:lnTo>
                      <a:lnTo>
                        <a:pt x="15" y="547"/>
                      </a:lnTo>
                      <a:lnTo>
                        <a:pt x="22" y="569"/>
                      </a:lnTo>
                      <a:lnTo>
                        <a:pt x="30" y="589"/>
                      </a:lnTo>
                      <a:lnTo>
                        <a:pt x="39" y="610"/>
                      </a:lnTo>
                      <a:lnTo>
                        <a:pt x="48" y="630"/>
                      </a:lnTo>
                      <a:lnTo>
                        <a:pt x="59" y="648"/>
                      </a:lnTo>
                      <a:lnTo>
                        <a:pt x="70" y="669"/>
                      </a:lnTo>
                      <a:lnTo>
                        <a:pt x="83" y="686"/>
                      </a:lnTo>
                      <a:lnTo>
                        <a:pt x="96" y="704"/>
                      </a:lnTo>
                      <a:lnTo>
                        <a:pt x="109" y="721"/>
                      </a:lnTo>
                      <a:lnTo>
                        <a:pt x="141" y="752"/>
                      </a:lnTo>
                      <a:lnTo>
                        <a:pt x="141" y="752"/>
                      </a:lnTo>
                      <a:lnTo>
                        <a:pt x="154" y="763"/>
                      </a:lnTo>
                      <a:lnTo>
                        <a:pt x="154" y="763"/>
                      </a:lnTo>
                      <a:lnTo>
                        <a:pt x="178" y="787"/>
                      </a:lnTo>
                      <a:lnTo>
                        <a:pt x="200" y="813"/>
                      </a:lnTo>
                      <a:lnTo>
                        <a:pt x="219" y="843"/>
                      </a:lnTo>
                      <a:lnTo>
                        <a:pt x="233" y="873"/>
                      </a:lnTo>
                      <a:lnTo>
                        <a:pt x="246" y="906"/>
                      </a:lnTo>
                      <a:lnTo>
                        <a:pt x="256" y="939"/>
                      </a:lnTo>
                      <a:lnTo>
                        <a:pt x="261" y="975"/>
                      </a:lnTo>
                      <a:lnTo>
                        <a:pt x="263" y="1012"/>
                      </a:lnTo>
                      <a:lnTo>
                        <a:pt x="263" y="1067"/>
                      </a:lnTo>
                      <a:lnTo>
                        <a:pt x="434" y="1067"/>
                      </a:lnTo>
                      <a:lnTo>
                        <a:pt x="602" y="1067"/>
                      </a:lnTo>
                      <a:lnTo>
                        <a:pt x="602" y="1012"/>
                      </a:lnTo>
                      <a:lnTo>
                        <a:pt x="602" y="1012"/>
                      </a:lnTo>
                      <a:lnTo>
                        <a:pt x="604" y="975"/>
                      </a:lnTo>
                      <a:lnTo>
                        <a:pt x="610" y="939"/>
                      </a:lnTo>
                      <a:lnTo>
                        <a:pt x="619" y="906"/>
                      </a:lnTo>
                      <a:lnTo>
                        <a:pt x="632" y="873"/>
                      </a:lnTo>
                      <a:lnTo>
                        <a:pt x="647" y="843"/>
                      </a:lnTo>
                      <a:lnTo>
                        <a:pt x="667" y="813"/>
                      </a:lnTo>
                      <a:lnTo>
                        <a:pt x="687" y="787"/>
                      </a:lnTo>
                      <a:lnTo>
                        <a:pt x="711" y="763"/>
                      </a:lnTo>
                      <a:lnTo>
                        <a:pt x="711" y="763"/>
                      </a:lnTo>
                      <a:lnTo>
                        <a:pt x="724" y="752"/>
                      </a:lnTo>
                      <a:lnTo>
                        <a:pt x="724" y="752"/>
                      </a:lnTo>
                      <a:lnTo>
                        <a:pt x="756" y="721"/>
                      </a:lnTo>
                      <a:lnTo>
                        <a:pt x="769" y="704"/>
                      </a:lnTo>
                      <a:lnTo>
                        <a:pt x="784" y="686"/>
                      </a:lnTo>
                      <a:lnTo>
                        <a:pt x="795" y="669"/>
                      </a:lnTo>
                      <a:lnTo>
                        <a:pt x="808" y="648"/>
                      </a:lnTo>
                      <a:lnTo>
                        <a:pt x="817" y="630"/>
                      </a:lnTo>
                      <a:lnTo>
                        <a:pt x="828" y="610"/>
                      </a:lnTo>
                      <a:lnTo>
                        <a:pt x="836" y="589"/>
                      </a:lnTo>
                      <a:lnTo>
                        <a:pt x="843" y="569"/>
                      </a:lnTo>
                      <a:lnTo>
                        <a:pt x="850" y="547"/>
                      </a:lnTo>
                      <a:lnTo>
                        <a:pt x="856" y="524"/>
                      </a:lnTo>
                      <a:lnTo>
                        <a:pt x="860" y="502"/>
                      </a:lnTo>
                      <a:lnTo>
                        <a:pt x="863" y="480"/>
                      </a:lnTo>
                      <a:lnTo>
                        <a:pt x="865" y="456"/>
                      </a:lnTo>
                      <a:lnTo>
                        <a:pt x="865" y="432"/>
                      </a:lnTo>
                      <a:lnTo>
                        <a:pt x="865" y="432"/>
                      </a:lnTo>
                      <a:lnTo>
                        <a:pt x="865" y="409"/>
                      </a:lnTo>
                      <a:lnTo>
                        <a:pt x="863" y="387"/>
                      </a:lnTo>
                      <a:lnTo>
                        <a:pt x="856" y="345"/>
                      </a:lnTo>
                      <a:lnTo>
                        <a:pt x="847" y="304"/>
                      </a:lnTo>
                      <a:lnTo>
                        <a:pt x="832" y="263"/>
                      </a:lnTo>
                      <a:lnTo>
                        <a:pt x="813" y="226"/>
                      </a:lnTo>
                      <a:lnTo>
                        <a:pt x="791" y="191"/>
                      </a:lnTo>
                      <a:lnTo>
                        <a:pt x="767" y="158"/>
                      </a:lnTo>
                      <a:lnTo>
                        <a:pt x="739" y="126"/>
                      </a:lnTo>
                      <a:lnTo>
                        <a:pt x="708" y="98"/>
                      </a:lnTo>
                      <a:lnTo>
                        <a:pt x="674" y="74"/>
                      </a:lnTo>
                      <a:lnTo>
                        <a:pt x="639" y="52"/>
                      </a:lnTo>
                      <a:lnTo>
                        <a:pt x="600" y="33"/>
                      </a:lnTo>
                      <a:lnTo>
                        <a:pt x="561" y="19"/>
                      </a:lnTo>
                      <a:lnTo>
                        <a:pt x="521" y="7"/>
                      </a:lnTo>
                      <a:lnTo>
                        <a:pt x="476" y="2"/>
                      </a:lnTo>
                      <a:lnTo>
                        <a:pt x="456" y="0"/>
                      </a:lnTo>
                      <a:lnTo>
                        <a:pt x="434" y="0"/>
                      </a:lnTo>
                      <a:lnTo>
                        <a:pt x="434" y="0"/>
                      </a:lnTo>
                      <a:close/>
                    </a:path>
                  </a:pathLst>
                </a:custGeom>
                <a:solidFill>
                  <a:srgbClr val="FDD300"/>
                </a:solidFill>
                <a:ln w="222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Freeform 241">
                  <a:extLst>
                    <a:ext uri="{FF2B5EF4-FFF2-40B4-BE49-F238E27FC236}">
                      <a16:creationId xmlns:a16="http://schemas.microsoft.com/office/drawing/2014/main" id="{48363F46-C1B1-4332-8335-A2F8F0FAF7A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75638" y="4079876"/>
                  <a:ext cx="585788" cy="333375"/>
                </a:xfrm>
                <a:custGeom>
                  <a:avLst/>
                  <a:gdLst>
                    <a:gd name="T0" fmla="*/ 369 w 369"/>
                    <a:gd name="T1" fmla="*/ 210 h 210"/>
                    <a:gd name="T2" fmla="*/ 0 w 369"/>
                    <a:gd name="T3" fmla="*/ 210 h 210"/>
                    <a:gd name="T4" fmla="*/ 0 w 369"/>
                    <a:gd name="T5" fmla="*/ 0 h 210"/>
                    <a:gd name="T6" fmla="*/ 369 w 369"/>
                    <a:gd name="T7" fmla="*/ 0 h 210"/>
                    <a:gd name="T8" fmla="*/ 369 w 369"/>
                    <a:gd name="T9" fmla="*/ 210 h 210"/>
                    <a:gd name="T10" fmla="*/ 30 w 369"/>
                    <a:gd name="T11" fmla="*/ 180 h 210"/>
                    <a:gd name="T12" fmla="*/ 339 w 369"/>
                    <a:gd name="T13" fmla="*/ 180 h 210"/>
                    <a:gd name="T14" fmla="*/ 339 w 369"/>
                    <a:gd name="T15" fmla="*/ 32 h 210"/>
                    <a:gd name="T16" fmla="*/ 30 w 369"/>
                    <a:gd name="T17" fmla="*/ 32 h 210"/>
                    <a:gd name="T18" fmla="*/ 30 w 369"/>
                    <a:gd name="T19" fmla="*/ 180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69" h="210">
                      <a:moveTo>
                        <a:pt x="369" y="210"/>
                      </a:moveTo>
                      <a:lnTo>
                        <a:pt x="0" y="210"/>
                      </a:lnTo>
                      <a:lnTo>
                        <a:pt x="0" y="0"/>
                      </a:lnTo>
                      <a:lnTo>
                        <a:pt x="369" y="0"/>
                      </a:lnTo>
                      <a:lnTo>
                        <a:pt x="369" y="210"/>
                      </a:lnTo>
                      <a:close/>
                      <a:moveTo>
                        <a:pt x="30" y="180"/>
                      </a:moveTo>
                      <a:lnTo>
                        <a:pt x="339" y="180"/>
                      </a:lnTo>
                      <a:lnTo>
                        <a:pt x="339" y="32"/>
                      </a:lnTo>
                      <a:lnTo>
                        <a:pt x="30" y="32"/>
                      </a:lnTo>
                      <a:lnTo>
                        <a:pt x="30" y="18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44F504D5-7A7E-4ACC-BCF5-A92044FCFA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079876"/>
                  <a:ext cx="638175" cy="50800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C1CBD50D-402F-4749-99F6-343DEE0C6B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175126"/>
                  <a:ext cx="638175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AF44BB8C-3666-440F-AA8D-1F24444227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271963"/>
                  <a:ext cx="638175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E9F10FF6-3852-4486-BFA3-65DD08A32B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365626"/>
                  <a:ext cx="638175" cy="476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reeform 246">
                  <a:extLst>
                    <a:ext uri="{FF2B5EF4-FFF2-40B4-BE49-F238E27FC236}">
                      <a16:creationId xmlns:a16="http://schemas.microsoft.com/office/drawing/2014/main" id="{FA179A60-74EB-4200-9514-9AD1B05F8A6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43913" y="4365626"/>
                  <a:ext cx="249238" cy="155575"/>
                </a:xfrm>
                <a:custGeom>
                  <a:avLst/>
                  <a:gdLst>
                    <a:gd name="T0" fmla="*/ 157 w 157"/>
                    <a:gd name="T1" fmla="*/ 98 h 98"/>
                    <a:gd name="T2" fmla="*/ 0 w 157"/>
                    <a:gd name="T3" fmla="*/ 98 h 98"/>
                    <a:gd name="T4" fmla="*/ 0 w 157"/>
                    <a:gd name="T5" fmla="*/ 0 h 98"/>
                    <a:gd name="T6" fmla="*/ 157 w 157"/>
                    <a:gd name="T7" fmla="*/ 0 h 98"/>
                    <a:gd name="T8" fmla="*/ 157 w 157"/>
                    <a:gd name="T9" fmla="*/ 98 h 98"/>
                    <a:gd name="T10" fmla="*/ 30 w 157"/>
                    <a:gd name="T11" fmla="*/ 69 h 98"/>
                    <a:gd name="T12" fmla="*/ 128 w 157"/>
                    <a:gd name="T13" fmla="*/ 69 h 98"/>
                    <a:gd name="T14" fmla="*/ 128 w 157"/>
                    <a:gd name="T15" fmla="*/ 30 h 98"/>
                    <a:gd name="T16" fmla="*/ 30 w 157"/>
                    <a:gd name="T17" fmla="*/ 30 h 98"/>
                    <a:gd name="T18" fmla="*/ 30 w 157"/>
                    <a:gd name="T19" fmla="*/ 69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7" h="98">
                      <a:moveTo>
                        <a:pt x="157" y="98"/>
                      </a:moveTo>
                      <a:lnTo>
                        <a:pt x="0" y="98"/>
                      </a:lnTo>
                      <a:lnTo>
                        <a:pt x="0" y="0"/>
                      </a:lnTo>
                      <a:lnTo>
                        <a:pt x="157" y="0"/>
                      </a:lnTo>
                      <a:lnTo>
                        <a:pt x="157" y="98"/>
                      </a:lnTo>
                      <a:close/>
                      <a:moveTo>
                        <a:pt x="30" y="69"/>
                      </a:moveTo>
                      <a:lnTo>
                        <a:pt x="128" y="69"/>
                      </a:lnTo>
                      <a:lnTo>
                        <a:pt x="128" y="30"/>
                      </a:lnTo>
                      <a:lnTo>
                        <a:pt x="30" y="30"/>
                      </a:lnTo>
                      <a:lnTo>
                        <a:pt x="30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A955F91C-F774-4BF6-AEB1-1720346823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3471863"/>
                  <a:ext cx="49213" cy="6318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 248">
                  <a:extLst>
                    <a:ext uri="{FF2B5EF4-FFF2-40B4-BE49-F238E27FC236}">
                      <a16:creationId xmlns:a16="http://schemas.microsoft.com/office/drawing/2014/main" id="{20BA89EC-750D-4B3D-8770-1E27FD8E86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75651" y="2968626"/>
                  <a:ext cx="385763" cy="255588"/>
                </a:xfrm>
                <a:custGeom>
                  <a:avLst/>
                  <a:gdLst>
                    <a:gd name="T0" fmla="*/ 145 w 243"/>
                    <a:gd name="T1" fmla="*/ 161 h 161"/>
                    <a:gd name="T2" fmla="*/ 98 w 243"/>
                    <a:gd name="T3" fmla="*/ 69 h 161"/>
                    <a:gd name="T4" fmla="*/ 85 w 243"/>
                    <a:gd name="T5" fmla="*/ 95 h 161"/>
                    <a:gd name="T6" fmla="*/ 0 w 243"/>
                    <a:gd name="T7" fmla="*/ 95 h 161"/>
                    <a:gd name="T8" fmla="*/ 0 w 243"/>
                    <a:gd name="T9" fmla="*/ 65 h 161"/>
                    <a:gd name="T10" fmla="*/ 65 w 243"/>
                    <a:gd name="T11" fmla="*/ 65 h 161"/>
                    <a:gd name="T12" fmla="*/ 98 w 243"/>
                    <a:gd name="T13" fmla="*/ 0 h 161"/>
                    <a:gd name="T14" fmla="*/ 145 w 243"/>
                    <a:gd name="T15" fmla="*/ 93 h 161"/>
                    <a:gd name="T16" fmla="*/ 160 w 243"/>
                    <a:gd name="T17" fmla="*/ 65 h 161"/>
                    <a:gd name="T18" fmla="*/ 243 w 243"/>
                    <a:gd name="T19" fmla="*/ 65 h 161"/>
                    <a:gd name="T20" fmla="*/ 243 w 243"/>
                    <a:gd name="T21" fmla="*/ 95 h 161"/>
                    <a:gd name="T22" fmla="*/ 178 w 243"/>
                    <a:gd name="T23" fmla="*/ 95 h 161"/>
                    <a:gd name="T24" fmla="*/ 145 w 243"/>
                    <a:gd name="T25" fmla="*/ 161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43" h="161">
                      <a:moveTo>
                        <a:pt x="145" y="161"/>
                      </a:moveTo>
                      <a:lnTo>
                        <a:pt x="98" y="69"/>
                      </a:lnTo>
                      <a:lnTo>
                        <a:pt x="85" y="95"/>
                      </a:lnTo>
                      <a:lnTo>
                        <a:pt x="0" y="95"/>
                      </a:lnTo>
                      <a:lnTo>
                        <a:pt x="0" y="65"/>
                      </a:lnTo>
                      <a:lnTo>
                        <a:pt x="65" y="65"/>
                      </a:lnTo>
                      <a:lnTo>
                        <a:pt x="98" y="0"/>
                      </a:lnTo>
                      <a:lnTo>
                        <a:pt x="145" y="93"/>
                      </a:lnTo>
                      <a:lnTo>
                        <a:pt x="160" y="65"/>
                      </a:lnTo>
                      <a:lnTo>
                        <a:pt x="243" y="65"/>
                      </a:lnTo>
                      <a:lnTo>
                        <a:pt x="243" y="95"/>
                      </a:lnTo>
                      <a:lnTo>
                        <a:pt x="178" y="95"/>
                      </a:lnTo>
                      <a:lnTo>
                        <a:pt x="145" y="16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reeform 249">
                  <a:extLst>
                    <a:ext uri="{FF2B5EF4-FFF2-40B4-BE49-F238E27FC236}">
                      <a16:creationId xmlns:a16="http://schemas.microsoft.com/office/drawing/2014/main" id="{AD70F6AF-71A7-4E8D-89D2-5EB9A9290F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34376" y="3121026"/>
                  <a:ext cx="468313" cy="395288"/>
                </a:xfrm>
                <a:custGeom>
                  <a:avLst/>
                  <a:gdLst>
                    <a:gd name="T0" fmla="*/ 149 w 295"/>
                    <a:gd name="T1" fmla="*/ 249 h 249"/>
                    <a:gd name="T2" fmla="*/ 0 w 295"/>
                    <a:gd name="T3" fmla="*/ 17 h 249"/>
                    <a:gd name="T4" fmla="*/ 26 w 295"/>
                    <a:gd name="T5" fmla="*/ 0 h 249"/>
                    <a:gd name="T6" fmla="*/ 149 w 295"/>
                    <a:gd name="T7" fmla="*/ 193 h 249"/>
                    <a:gd name="T8" fmla="*/ 269 w 295"/>
                    <a:gd name="T9" fmla="*/ 0 h 249"/>
                    <a:gd name="T10" fmla="*/ 295 w 295"/>
                    <a:gd name="T11" fmla="*/ 17 h 249"/>
                    <a:gd name="T12" fmla="*/ 149 w 295"/>
                    <a:gd name="T13" fmla="*/ 249 h 2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5" h="249">
                      <a:moveTo>
                        <a:pt x="149" y="249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149" y="193"/>
                      </a:lnTo>
                      <a:lnTo>
                        <a:pt x="269" y="0"/>
                      </a:lnTo>
                      <a:lnTo>
                        <a:pt x="295" y="17"/>
                      </a:lnTo>
                      <a:lnTo>
                        <a:pt x="149" y="24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reeform 250">
                  <a:extLst>
                    <a:ext uri="{FF2B5EF4-FFF2-40B4-BE49-F238E27FC236}">
                      <a16:creationId xmlns:a16="http://schemas.microsoft.com/office/drawing/2014/main" id="{C73B7F44-808D-4D7E-B6A4-2F8A703519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55001" y="3024188"/>
                  <a:ext cx="144463" cy="144463"/>
                </a:xfrm>
                <a:custGeom>
                  <a:avLst/>
                  <a:gdLst>
                    <a:gd name="T0" fmla="*/ 47 w 91"/>
                    <a:gd name="T1" fmla="*/ 91 h 91"/>
                    <a:gd name="T2" fmla="*/ 47 w 91"/>
                    <a:gd name="T3" fmla="*/ 91 h 91"/>
                    <a:gd name="T4" fmla="*/ 37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2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2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7 w 91"/>
                    <a:gd name="T35" fmla="*/ 0 h 91"/>
                    <a:gd name="T36" fmla="*/ 47 w 91"/>
                    <a:gd name="T37" fmla="*/ 0 h 91"/>
                    <a:gd name="T38" fmla="*/ 47 w 91"/>
                    <a:gd name="T39" fmla="*/ 0 h 91"/>
                    <a:gd name="T40" fmla="*/ 56 w 91"/>
                    <a:gd name="T41" fmla="*/ 0 h 91"/>
                    <a:gd name="T42" fmla="*/ 63 w 91"/>
                    <a:gd name="T43" fmla="*/ 4 h 91"/>
                    <a:gd name="T44" fmla="*/ 73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91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91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3 w 91"/>
                    <a:gd name="T67" fmla="*/ 84 h 91"/>
                    <a:gd name="T68" fmla="*/ 63 w 91"/>
                    <a:gd name="T69" fmla="*/ 87 h 91"/>
                    <a:gd name="T70" fmla="*/ 56 w 91"/>
                    <a:gd name="T71" fmla="*/ 89 h 91"/>
                    <a:gd name="T72" fmla="*/ 47 w 91"/>
                    <a:gd name="T73" fmla="*/ 91 h 91"/>
                    <a:gd name="T74" fmla="*/ 47 w 91"/>
                    <a:gd name="T75" fmla="*/ 91 h 91"/>
                    <a:gd name="T76" fmla="*/ 47 w 91"/>
                    <a:gd name="T77" fmla="*/ 30 h 91"/>
                    <a:gd name="T78" fmla="*/ 47 w 91"/>
                    <a:gd name="T79" fmla="*/ 30 h 91"/>
                    <a:gd name="T80" fmla="*/ 41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2 w 91"/>
                    <a:gd name="T87" fmla="*/ 45 h 91"/>
                    <a:gd name="T88" fmla="*/ 32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41 w 91"/>
                    <a:gd name="T95" fmla="*/ 60 h 91"/>
                    <a:gd name="T96" fmla="*/ 47 w 91"/>
                    <a:gd name="T97" fmla="*/ 60 h 91"/>
                    <a:gd name="T98" fmla="*/ 47 w 91"/>
                    <a:gd name="T99" fmla="*/ 60 h 91"/>
                    <a:gd name="T100" fmla="*/ 52 w 91"/>
                    <a:gd name="T101" fmla="*/ 60 h 91"/>
                    <a:gd name="T102" fmla="*/ 58 w 91"/>
                    <a:gd name="T103" fmla="*/ 56 h 91"/>
                    <a:gd name="T104" fmla="*/ 60 w 91"/>
                    <a:gd name="T105" fmla="*/ 50 h 91"/>
                    <a:gd name="T106" fmla="*/ 61 w 91"/>
                    <a:gd name="T107" fmla="*/ 45 h 91"/>
                    <a:gd name="T108" fmla="*/ 61 w 91"/>
                    <a:gd name="T109" fmla="*/ 45 h 91"/>
                    <a:gd name="T110" fmla="*/ 60 w 91"/>
                    <a:gd name="T111" fmla="*/ 39 h 91"/>
                    <a:gd name="T112" fmla="*/ 58 w 91"/>
                    <a:gd name="T113" fmla="*/ 35 h 91"/>
                    <a:gd name="T114" fmla="*/ 52 w 91"/>
                    <a:gd name="T115" fmla="*/ 32 h 91"/>
                    <a:gd name="T116" fmla="*/ 47 w 91"/>
                    <a:gd name="T117" fmla="*/ 30 h 91"/>
                    <a:gd name="T118" fmla="*/ 47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7" y="91"/>
                      </a:moveTo>
                      <a:lnTo>
                        <a:pt x="47" y="91"/>
                      </a:lnTo>
                      <a:lnTo>
                        <a:pt x="37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2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2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7" y="0"/>
                      </a:lnTo>
                      <a:lnTo>
                        <a:pt x="47" y="0"/>
                      </a:lnTo>
                      <a:lnTo>
                        <a:pt x="47" y="0"/>
                      </a:lnTo>
                      <a:lnTo>
                        <a:pt x="56" y="0"/>
                      </a:lnTo>
                      <a:lnTo>
                        <a:pt x="63" y="4"/>
                      </a:lnTo>
                      <a:lnTo>
                        <a:pt x="73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91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91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3" y="84"/>
                      </a:lnTo>
                      <a:lnTo>
                        <a:pt x="63" y="87"/>
                      </a:lnTo>
                      <a:lnTo>
                        <a:pt x="56" y="89"/>
                      </a:lnTo>
                      <a:lnTo>
                        <a:pt x="47" y="91"/>
                      </a:lnTo>
                      <a:lnTo>
                        <a:pt x="47" y="91"/>
                      </a:lnTo>
                      <a:close/>
                      <a:moveTo>
                        <a:pt x="47" y="30"/>
                      </a:moveTo>
                      <a:lnTo>
                        <a:pt x="47" y="30"/>
                      </a:lnTo>
                      <a:lnTo>
                        <a:pt x="41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2" y="45"/>
                      </a:lnTo>
                      <a:lnTo>
                        <a:pt x="32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41" y="60"/>
                      </a:lnTo>
                      <a:lnTo>
                        <a:pt x="47" y="60"/>
                      </a:lnTo>
                      <a:lnTo>
                        <a:pt x="47" y="60"/>
                      </a:lnTo>
                      <a:lnTo>
                        <a:pt x="52" y="60"/>
                      </a:lnTo>
                      <a:lnTo>
                        <a:pt x="58" y="56"/>
                      </a:lnTo>
                      <a:lnTo>
                        <a:pt x="60" y="50"/>
                      </a:lnTo>
                      <a:lnTo>
                        <a:pt x="61" y="45"/>
                      </a:lnTo>
                      <a:lnTo>
                        <a:pt x="61" y="45"/>
                      </a:lnTo>
                      <a:lnTo>
                        <a:pt x="60" y="39"/>
                      </a:lnTo>
                      <a:lnTo>
                        <a:pt x="58" y="35"/>
                      </a:lnTo>
                      <a:lnTo>
                        <a:pt x="52" y="32"/>
                      </a:lnTo>
                      <a:lnTo>
                        <a:pt x="47" y="30"/>
                      </a:lnTo>
                      <a:lnTo>
                        <a:pt x="47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reeform 251">
                  <a:extLst>
                    <a:ext uri="{FF2B5EF4-FFF2-40B4-BE49-F238E27FC236}">
                      <a16:creationId xmlns:a16="http://schemas.microsoft.com/office/drawing/2014/main" id="{8912995F-B8C5-4317-80BC-C331A0BFC1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37601" y="3024188"/>
                  <a:ext cx="144463" cy="144463"/>
                </a:xfrm>
                <a:custGeom>
                  <a:avLst/>
                  <a:gdLst>
                    <a:gd name="T0" fmla="*/ 45 w 91"/>
                    <a:gd name="T1" fmla="*/ 91 h 91"/>
                    <a:gd name="T2" fmla="*/ 45 w 91"/>
                    <a:gd name="T3" fmla="*/ 91 h 91"/>
                    <a:gd name="T4" fmla="*/ 35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0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0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5 w 91"/>
                    <a:gd name="T35" fmla="*/ 0 h 91"/>
                    <a:gd name="T36" fmla="*/ 45 w 91"/>
                    <a:gd name="T37" fmla="*/ 0 h 91"/>
                    <a:gd name="T38" fmla="*/ 45 w 91"/>
                    <a:gd name="T39" fmla="*/ 0 h 91"/>
                    <a:gd name="T40" fmla="*/ 54 w 91"/>
                    <a:gd name="T41" fmla="*/ 0 h 91"/>
                    <a:gd name="T42" fmla="*/ 63 w 91"/>
                    <a:gd name="T43" fmla="*/ 4 h 91"/>
                    <a:gd name="T44" fmla="*/ 71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89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89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1 w 91"/>
                    <a:gd name="T67" fmla="*/ 84 h 91"/>
                    <a:gd name="T68" fmla="*/ 63 w 91"/>
                    <a:gd name="T69" fmla="*/ 87 h 91"/>
                    <a:gd name="T70" fmla="*/ 54 w 91"/>
                    <a:gd name="T71" fmla="*/ 89 h 91"/>
                    <a:gd name="T72" fmla="*/ 45 w 91"/>
                    <a:gd name="T73" fmla="*/ 91 h 91"/>
                    <a:gd name="T74" fmla="*/ 45 w 91"/>
                    <a:gd name="T75" fmla="*/ 91 h 91"/>
                    <a:gd name="T76" fmla="*/ 45 w 91"/>
                    <a:gd name="T77" fmla="*/ 30 h 91"/>
                    <a:gd name="T78" fmla="*/ 45 w 91"/>
                    <a:gd name="T79" fmla="*/ 30 h 91"/>
                    <a:gd name="T80" fmla="*/ 39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0 w 91"/>
                    <a:gd name="T87" fmla="*/ 45 h 91"/>
                    <a:gd name="T88" fmla="*/ 30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39 w 91"/>
                    <a:gd name="T95" fmla="*/ 60 h 91"/>
                    <a:gd name="T96" fmla="*/ 45 w 91"/>
                    <a:gd name="T97" fmla="*/ 60 h 91"/>
                    <a:gd name="T98" fmla="*/ 45 w 91"/>
                    <a:gd name="T99" fmla="*/ 60 h 91"/>
                    <a:gd name="T100" fmla="*/ 50 w 91"/>
                    <a:gd name="T101" fmla="*/ 60 h 91"/>
                    <a:gd name="T102" fmla="*/ 56 w 91"/>
                    <a:gd name="T103" fmla="*/ 56 h 91"/>
                    <a:gd name="T104" fmla="*/ 59 w 91"/>
                    <a:gd name="T105" fmla="*/ 50 h 91"/>
                    <a:gd name="T106" fmla="*/ 59 w 91"/>
                    <a:gd name="T107" fmla="*/ 45 h 91"/>
                    <a:gd name="T108" fmla="*/ 59 w 91"/>
                    <a:gd name="T109" fmla="*/ 45 h 91"/>
                    <a:gd name="T110" fmla="*/ 59 w 91"/>
                    <a:gd name="T111" fmla="*/ 39 h 91"/>
                    <a:gd name="T112" fmla="*/ 56 w 91"/>
                    <a:gd name="T113" fmla="*/ 35 h 91"/>
                    <a:gd name="T114" fmla="*/ 50 w 91"/>
                    <a:gd name="T115" fmla="*/ 32 h 91"/>
                    <a:gd name="T116" fmla="*/ 45 w 91"/>
                    <a:gd name="T117" fmla="*/ 30 h 91"/>
                    <a:gd name="T118" fmla="*/ 45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5" y="91"/>
                      </a:moveTo>
                      <a:lnTo>
                        <a:pt x="45" y="91"/>
                      </a:lnTo>
                      <a:lnTo>
                        <a:pt x="35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0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0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5" y="0"/>
                      </a:lnTo>
                      <a:lnTo>
                        <a:pt x="45" y="0"/>
                      </a:lnTo>
                      <a:lnTo>
                        <a:pt x="45" y="0"/>
                      </a:lnTo>
                      <a:lnTo>
                        <a:pt x="54" y="0"/>
                      </a:lnTo>
                      <a:lnTo>
                        <a:pt x="63" y="4"/>
                      </a:lnTo>
                      <a:lnTo>
                        <a:pt x="71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89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89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1" y="84"/>
                      </a:lnTo>
                      <a:lnTo>
                        <a:pt x="63" y="87"/>
                      </a:lnTo>
                      <a:lnTo>
                        <a:pt x="54" y="89"/>
                      </a:lnTo>
                      <a:lnTo>
                        <a:pt x="45" y="91"/>
                      </a:lnTo>
                      <a:lnTo>
                        <a:pt x="45" y="91"/>
                      </a:lnTo>
                      <a:close/>
                      <a:moveTo>
                        <a:pt x="45" y="30"/>
                      </a:moveTo>
                      <a:lnTo>
                        <a:pt x="45" y="30"/>
                      </a:lnTo>
                      <a:lnTo>
                        <a:pt x="39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0" y="45"/>
                      </a:lnTo>
                      <a:lnTo>
                        <a:pt x="30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39" y="60"/>
                      </a:lnTo>
                      <a:lnTo>
                        <a:pt x="45" y="60"/>
                      </a:lnTo>
                      <a:lnTo>
                        <a:pt x="45" y="60"/>
                      </a:lnTo>
                      <a:lnTo>
                        <a:pt x="50" y="60"/>
                      </a:lnTo>
                      <a:lnTo>
                        <a:pt x="56" y="56"/>
                      </a:lnTo>
                      <a:lnTo>
                        <a:pt x="59" y="50"/>
                      </a:lnTo>
                      <a:lnTo>
                        <a:pt x="59" y="45"/>
                      </a:lnTo>
                      <a:lnTo>
                        <a:pt x="59" y="45"/>
                      </a:lnTo>
                      <a:lnTo>
                        <a:pt x="59" y="39"/>
                      </a:lnTo>
                      <a:lnTo>
                        <a:pt x="56" y="35"/>
                      </a:lnTo>
                      <a:lnTo>
                        <a:pt x="50" y="32"/>
                      </a:lnTo>
                      <a:lnTo>
                        <a:pt x="45" y="30"/>
                      </a:lnTo>
                      <a:lnTo>
                        <a:pt x="45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CAAE7413-EF26-4717-AC8C-2CF23F2E41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2178051"/>
                  <a:ext cx="49213" cy="9366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 253">
                  <a:extLst>
                    <a:ext uri="{FF2B5EF4-FFF2-40B4-BE49-F238E27FC236}">
                      <a16:creationId xmlns:a16="http://schemas.microsoft.com/office/drawing/2014/main" id="{73AA1EC9-474D-472D-8564-CF212A52E4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16963" y="2192338"/>
                  <a:ext cx="68263" cy="103188"/>
                </a:xfrm>
                <a:custGeom>
                  <a:avLst/>
                  <a:gdLst>
                    <a:gd name="T0" fmla="*/ 30 w 43"/>
                    <a:gd name="T1" fmla="*/ 65 h 65"/>
                    <a:gd name="T2" fmla="*/ 0 w 43"/>
                    <a:gd name="T3" fmla="*/ 59 h 65"/>
                    <a:gd name="T4" fmla="*/ 13 w 43"/>
                    <a:gd name="T5" fmla="*/ 0 h 65"/>
                    <a:gd name="T6" fmla="*/ 43 w 43"/>
                    <a:gd name="T7" fmla="*/ 6 h 65"/>
                    <a:gd name="T8" fmla="*/ 30 w 43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65">
                      <a:moveTo>
                        <a:pt x="30" y="65"/>
                      </a:moveTo>
                      <a:lnTo>
                        <a:pt x="0" y="59"/>
                      </a:lnTo>
                      <a:lnTo>
                        <a:pt x="13" y="0"/>
                      </a:lnTo>
                      <a:lnTo>
                        <a:pt x="43" y="6"/>
                      </a:lnTo>
                      <a:lnTo>
                        <a:pt x="30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 254">
                  <a:extLst>
                    <a:ext uri="{FF2B5EF4-FFF2-40B4-BE49-F238E27FC236}">
                      <a16:creationId xmlns:a16="http://schemas.microsoft.com/office/drawing/2014/main" id="{61A6ADAC-B9E4-492F-865E-BCE734A558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2063" y="2244726"/>
                  <a:ext cx="82550" cy="109538"/>
                </a:xfrm>
                <a:custGeom>
                  <a:avLst/>
                  <a:gdLst>
                    <a:gd name="T0" fmla="*/ 28 w 52"/>
                    <a:gd name="T1" fmla="*/ 69 h 69"/>
                    <a:gd name="T2" fmla="*/ 0 w 52"/>
                    <a:gd name="T3" fmla="*/ 56 h 69"/>
                    <a:gd name="T4" fmla="*/ 24 w 52"/>
                    <a:gd name="T5" fmla="*/ 0 h 69"/>
                    <a:gd name="T6" fmla="*/ 52 w 52"/>
                    <a:gd name="T7" fmla="*/ 13 h 69"/>
                    <a:gd name="T8" fmla="*/ 28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8" y="69"/>
                      </a:moveTo>
                      <a:lnTo>
                        <a:pt x="0" y="56"/>
                      </a:lnTo>
                      <a:lnTo>
                        <a:pt x="24" y="0"/>
                      </a:lnTo>
                      <a:lnTo>
                        <a:pt x="52" y="13"/>
                      </a:lnTo>
                      <a:lnTo>
                        <a:pt x="28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 255">
                  <a:extLst>
                    <a:ext uri="{FF2B5EF4-FFF2-40B4-BE49-F238E27FC236}">
                      <a16:creationId xmlns:a16="http://schemas.microsoft.com/office/drawing/2014/main" id="{977A77F8-1623-4CB7-A819-AAAAA493D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2339976"/>
                  <a:ext cx="98425" cy="104775"/>
                </a:xfrm>
                <a:custGeom>
                  <a:avLst/>
                  <a:gdLst>
                    <a:gd name="T0" fmla="*/ 26 w 62"/>
                    <a:gd name="T1" fmla="*/ 66 h 66"/>
                    <a:gd name="T2" fmla="*/ 0 w 62"/>
                    <a:gd name="T3" fmla="*/ 48 h 66"/>
                    <a:gd name="T4" fmla="*/ 37 w 62"/>
                    <a:gd name="T5" fmla="*/ 0 h 66"/>
                    <a:gd name="T6" fmla="*/ 62 w 62"/>
                    <a:gd name="T7" fmla="*/ 16 h 66"/>
                    <a:gd name="T8" fmla="*/ 26 w 62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6">
                      <a:moveTo>
                        <a:pt x="26" y="66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2" y="16"/>
                      </a:lnTo>
                      <a:lnTo>
                        <a:pt x="26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256">
                  <a:extLst>
                    <a:ext uri="{FF2B5EF4-FFF2-40B4-BE49-F238E27FC236}">
                      <a16:creationId xmlns:a16="http://schemas.microsoft.com/office/drawing/2014/main" id="{935FDF97-10EE-4E4C-A53E-9166170DD4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2462213"/>
                  <a:ext cx="103188" cy="100013"/>
                </a:xfrm>
                <a:custGeom>
                  <a:avLst/>
                  <a:gdLst>
                    <a:gd name="T0" fmla="*/ 20 w 65"/>
                    <a:gd name="T1" fmla="*/ 63 h 63"/>
                    <a:gd name="T2" fmla="*/ 0 w 65"/>
                    <a:gd name="T3" fmla="*/ 41 h 63"/>
                    <a:gd name="T4" fmla="*/ 44 w 65"/>
                    <a:gd name="T5" fmla="*/ 0 h 63"/>
                    <a:gd name="T6" fmla="*/ 65 w 65"/>
                    <a:gd name="T7" fmla="*/ 23 h 63"/>
                    <a:gd name="T8" fmla="*/ 20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5" y="23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 257">
                  <a:extLst>
                    <a:ext uri="{FF2B5EF4-FFF2-40B4-BE49-F238E27FC236}">
                      <a16:creationId xmlns:a16="http://schemas.microsoft.com/office/drawing/2014/main" id="{CA562749-14B7-41A8-BB25-A07EBB3C4A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2616201"/>
                  <a:ext cx="104775" cy="87313"/>
                </a:xfrm>
                <a:custGeom>
                  <a:avLst/>
                  <a:gdLst>
                    <a:gd name="T0" fmla="*/ 14 w 66"/>
                    <a:gd name="T1" fmla="*/ 55 h 55"/>
                    <a:gd name="T2" fmla="*/ 0 w 66"/>
                    <a:gd name="T3" fmla="*/ 29 h 55"/>
                    <a:gd name="T4" fmla="*/ 51 w 66"/>
                    <a:gd name="T5" fmla="*/ 0 h 55"/>
                    <a:gd name="T6" fmla="*/ 66 w 66"/>
                    <a:gd name="T7" fmla="*/ 26 h 55"/>
                    <a:gd name="T8" fmla="*/ 14 w 66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5">
                      <a:moveTo>
                        <a:pt x="14" y="55"/>
                      </a:moveTo>
                      <a:lnTo>
                        <a:pt x="0" y="29"/>
                      </a:lnTo>
                      <a:lnTo>
                        <a:pt x="51" y="0"/>
                      </a:lnTo>
                      <a:lnTo>
                        <a:pt x="66" y="26"/>
                      </a:lnTo>
                      <a:lnTo>
                        <a:pt x="14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258">
                  <a:extLst>
                    <a:ext uri="{FF2B5EF4-FFF2-40B4-BE49-F238E27FC236}">
                      <a16:creationId xmlns:a16="http://schemas.microsoft.com/office/drawing/2014/main" id="{408CA8BA-E75E-4490-98D8-1AEDFA546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2789238"/>
                  <a:ext cx="106363" cy="76200"/>
                </a:xfrm>
                <a:custGeom>
                  <a:avLst/>
                  <a:gdLst>
                    <a:gd name="T0" fmla="*/ 9 w 67"/>
                    <a:gd name="T1" fmla="*/ 48 h 48"/>
                    <a:gd name="T2" fmla="*/ 0 w 67"/>
                    <a:gd name="T3" fmla="*/ 19 h 48"/>
                    <a:gd name="T4" fmla="*/ 57 w 67"/>
                    <a:gd name="T5" fmla="*/ 0 h 48"/>
                    <a:gd name="T6" fmla="*/ 67 w 67"/>
                    <a:gd name="T7" fmla="*/ 28 h 48"/>
                    <a:gd name="T8" fmla="*/ 9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7" y="28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259">
                  <a:extLst>
                    <a:ext uri="{FF2B5EF4-FFF2-40B4-BE49-F238E27FC236}">
                      <a16:creationId xmlns:a16="http://schemas.microsoft.com/office/drawing/2014/main" id="{1090CF3A-27A3-4311-8FE7-596CA729EF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2974976"/>
                  <a:ext cx="100013" cy="58738"/>
                </a:xfrm>
                <a:custGeom>
                  <a:avLst/>
                  <a:gdLst>
                    <a:gd name="T0" fmla="*/ 3 w 63"/>
                    <a:gd name="T1" fmla="*/ 37 h 37"/>
                    <a:gd name="T2" fmla="*/ 0 w 63"/>
                    <a:gd name="T3" fmla="*/ 7 h 37"/>
                    <a:gd name="T4" fmla="*/ 59 w 63"/>
                    <a:gd name="T5" fmla="*/ 0 h 37"/>
                    <a:gd name="T6" fmla="*/ 63 w 63"/>
                    <a:gd name="T7" fmla="*/ 31 h 37"/>
                    <a:gd name="T8" fmla="*/ 3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3" y="37"/>
                      </a:moveTo>
                      <a:lnTo>
                        <a:pt x="0" y="7"/>
                      </a:lnTo>
                      <a:lnTo>
                        <a:pt x="59" y="0"/>
                      </a:lnTo>
                      <a:lnTo>
                        <a:pt x="63" y="31"/>
                      </a:lnTo>
                      <a:lnTo>
                        <a:pt x="3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 260">
                  <a:extLst>
                    <a:ext uri="{FF2B5EF4-FFF2-40B4-BE49-F238E27FC236}">
                      <a16:creationId xmlns:a16="http://schemas.microsoft.com/office/drawing/2014/main" id="{3FAB6C50-BDDE-45C0-926C-7837C8FA7B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3157538"/>
                  <a:ext cx="100013" cy="58738"/>
                </a:xfrm>
                <a:custGeom>
                  <a:avLst/>
                  <a:gdLst>
                    <a:gd name="T0" fmla="*/ 59 w 63"/>
                    <a:gd name="T1" fmla="*/ 37 h 37"/>
                    <a:gd name="T2" fmla="*/ 0 w 63"/>
                    <a:gd name="T3" fmla="*/ 31 h 37"/>
                    <a:gd name="T4" fmla="*/ 3 w 63"/>
                    <a:gd name="T5" fmla="*/ 0 h 37"/>
                    <a:gd name="T6" fmla="*/ 63 w 63"/>
                    <a:gd name="T7" fmla="*/ 7 h 37"/>
                    <a:gd name="T8" fmla="*/ 59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59" y="37"/>
                      </a:moveTo>
                      <a:lnTo>
                        <a:pt x="0" y="31"/>
                      </a:lnTo>
                      <a:lnTo>
                        <a:pt x="3" y="0"/>
                      </a:lnTo>
                      <a:lnTo>
                        <a:pt x="63" y="7"/>
                      </a:lnTo>
                      <a:lnTo>
                        <a:pt x="59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 261">
                  <a:extLst>
                    <a:ext uri="{FF2B5EF4-FFF2-40B4-BE49-F238E27FC236}">
                      <a16:creationId xmlns:a16="http://schemas.microsoft.com/office/drawing/2014/main" id="{47D663F0-8018-44F9-80F0-01A8B6986E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3327401"/>
                  <a:ext cx="106363" cy="76200"/>
                </a:xfrm>
                <a:custGeom>
                  <a:avLst/>
                  <a:gdLst>
                    <a:gd name="T0" fmla="*/ 57 w 67"/>
                    <a:gd name="T1" fmla="*/ 48 h 48"/>
                    <a:gd name="T2" fmla="*/ 0 w 67"/>
                    <a:gd name="T3" fmla="*/ 28 h 48"/>
                    <a:gd name="T4" fmla="*/ 9 w 67"/>
                    <a:gd name="T5" fmla="*/ 0 h 48"/>
                    <a:gd name="T6" fmla="*/ 67 w 67"/>
                    <a:gd name="T7" fmla="*/ 19 h 48"/>
                    <a:gd name="T8" fmla="*/ 57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7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262">
                  <a:extLst>
                    <a:ext uri="{FF2B5EF4-FFF2-40B4-BE49-F238E27FC236}">
                      <a16:creationId xmlns:a16="http://schemas.microsoft.com/office/drawing/2014/main" id="{0101A9CE-A12E-44DC-AD06-F6FE1A728F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3486151"/>
                  <a:ext cx="104775" cy="92075"/>
                </a:xfrm>
                <a:custGeom>
                  <a:avLst/>
                  <a:gdLst>
                    <a:gd name="T0" fmla="*/ 51 w 66"/>
                    <a:gd name="T1" fmla="*/ 58 h 58"/>
                    <a:gd name="T2" fmla="*/ 0 w 66"/>
                    <a:gd name="T3" fmla="*/ 26 h 58"/>
                    <a:gd name="T4" fmla="*/ 14 w 66"/>
                    <a:gd name="T5" fmla="*/ 0 h 58"/>
                    <a:gd name="T6" fmla="*/ 66 w 66"/>
                    <a:gd name="T7" fmla="*/ 30 h 58"/>
                    <a:gd name="T8" fmla="*/ 51 w 66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8">
                      <a:moveTo>
                        <a:pt x="51" y="58"/>
                      </a:moveTo>
                      <a:lnTo>
                        <a:pt x="0" y="26"/>
                      </a:lnTo>
                      <a:lnTo>
                        <a:pt x="14" y="0"/>
                      </a:lnTo>
                      <a:lnTo>
                        <a:pt x="66" y="30"/>
                      </a:lnTo>
                      <a:lnTo>
                        <a:pt x="51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 263">
                  <a:extLst>
                    <a:ext uri="{FF2B5EF4-FFF2-40B4-BE49-F238E27FC236}">
                      <a16:creationId xmlns:a16="http://schemas.microsoft.com/office/drawing/2014/main" id="{13CE1013-3E66-434C-A86D-CC70498A1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3627438"/>
                  <a:ext cx="103188" cy="100013"/>
                </a:xfrm>
                <a:custGeom>
                  <a:avLst/>
                  <a:gdLst>
                    <a:gd name="T0" fmla="*/ 44 w 65"/>
                    <a:gd name="T1" fmla="*/ 63 h 63"/>
                    <a:gd name="T2" fmla="*/ 0 w 65"/>
                    <a:gd name="T3" fmla="*/ 24 h 63"/>
                    <a:gd name="T4" fmla="*/ 20 w 65"/>
                    <a:gd name="T5" fmla="*/ 0 h 63"/>
                    <a:gd name="T6" fmla="*/ 65 w 65"/>
                    <a:gd name="T7" fmla="*/ 41 h 63"/>
                    <a:gd name="T8" fmla="*/ 44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44" y="63"/>
                      </a:moveTo>
                      <a:lnTo>
                        <a:pt x="0" y="24"/>
                      </a:lnTo>
                      <a:lnTo>
                        <a:pt x="20" y="0"/>
                      </a:lnTo>
                      <a:lnTo>
                        <a:pt x="65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264">
                  <a:extLst>
                    <a:ext uri="{FF2B5EF4-FFF2-40B4-BE49-F238E27FC236}">
                      <a16:creationId xmlns:a16="http://schemas.microsoft.com/office/drawing/2014/main" id="{8E6176CC-397B-4CA1-985C-7F8F098D30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3748088"/>
                  <a:ext cx="98425" cy="106363"/>
                </a:xfrm>
                <a:custGeom>
                  <a:avLst/>
                  <a:gdLst>
                    <a:gd name="T0" fmla="*/ 37 w 62"/>
                    <a:gd name="T1" fmla="*/ 67 h 67"/>
                    <a:gd name="T2" fmla="*/ 0 w 62"/>
                    <a:gd name="T3" fmla="*/ 17 h 67"/>
                    <a:gd name="T4" fmla="*/ 26 w 62"/>
                    <a:gd name="T5" fmla="*/ 0 h 67"/>
                    <a:gd name="T6" fmla="*/ 62 w 62"/>
                    <a:gd name="T7" fmla="*/ 48 h 67"/>
                    <a:gd name="T8" fmla="*/ 37 w 62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7">
                      <a:moveTo>
                        <a:pt x="37" y="67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62" y="48"/>
                      </a:lnTo>
                      <a:lnTo>
                        <a:pt x="37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265">
                  <a:extLst>
                    <a:ext uri="{FF2B5EF4-FFF2-40B4-BE49-F238E27FC236}">
                      <a16:creationId xmlns:a16="http://schemas.microsoft.com/office/drawing/2014/main" id="{62E95CCC-CC2C-45B4-BF48-0CB536D00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55013" y="2192338"/>
                  <a:ext cx="65088" cy="103188"/>
                </a:xfrm>
                <a:custGeom>
                  <a:avLst/>
                  <a:gdLst>
                    <a:gd name="T0" fmla="*/ 11 w 41"/>
                    <a:gd name="T1" fmla="*/ 65 h 65"/>
                    <a:gd name="T2" fmla="*/ 0 w 41"/>
                    <a:gd name="T3" fmla="*/ 6 h 65"/>
                    <a:gd name="T4" fmla="*/ 30 w 41"/>
                    <a:gd name="T5" fmla="*/ 0 h 65"/>
                    <a:gd name="T6" fmla="*/ 41 w 41"/>
                    <a:gd name="T7" fmla="*/ 59 h 65"/>
                    <a:gd name="T8" fmla="*/ 11 w 41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65">
                      <a:moveTo>
                        <a:pt x="11" y="65"/>
                      </a:moveTo>
                      <a:lnTo>
                        <a:pt x="0" y="6"/>
                      </a:lnTo>
                      <a:lnTo>
                        <a:pt x="30" y="0"/>
                      </a:lnTo>
                      <a:lnTo>
                        <a:pt x="41" y="59"/>
                      </a:lnTo>
                      <a:lnTo>
                        <a:pt x="1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266">
                  <a:extLst>
                    <a:ext uri="{FF2B5EF4-FFF2-40B4-BE49-F238E27FC236}">
                      <a16:creationId xmlns:a16="http://schemas.microsoft.com/office/drawing/2014/main" id="{0C70349C-B12D-4A72-A795-29BFCAA01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2451" y="2244726"/>
                  <a:ext cx="82550" cy="109538"/>
                </a:xfrm>
                <a:custGeom>
                  <a:avLst/>
                  <a:gdLst>
                    <a:gd name="T0" fmla="*/ 24 w 52"/>
                    <a:gd name="T1" fmla="*/ 69 h 69"/>
                    <a:gd name="T2" fmla="*/ 0 w 52"/>
                    <a:gd name="T3" fmla="*/ 13 h 69"/>
                    <a:gd name="T4" fmla="*/ 28 w 52"/>
                    <a:gd name="T5" fmla="*/ 0 h 69"/>
                    <a:gd name="T6" fmla="*/ 52 w 52"/>
                    <a:gd name="T7" fmla="*/ 56 h 69"/>
                    <a:gd name="T8" fmla="*/ 24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4" y="69"/>
                      </a:moveTo>
                      <a:lnTo>
                        <a:pt x="0" y="13"/>
                      </a:lnTo>
                      <a:lnTo>
                        <a:pt x="28" y="0"/>
                      </a:lnTo>
                      <a:lnTo>
                        <a:pt x="52" y="56"/>
                      </a:lnTo>
                      <a:lnTo>
                        <a:pt x="24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 267">
                  <a:extLst>
                    <a:ext uri="{FF2B5EF4-FFF2-40B4-BE49-F238E27FC236}">
                      <a16:creationId xmlns:a16="http://schemas.microsoft.com/office/drawing/2014/main" id="{54AA60F1-EA14-4143-BBC2-403E43DB1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2339976"/>
                  <a:ext cx="96838" cy="104775"/>
                </a:xfrm>
                <a:custGeom>
                  <a:avLst/>
                  <a:gdLst>
                    <a:gd name="T0" fmla="*/ 37 w 61"/>
                    <a:gd name="T1" fmla="*/ 66 h 66"/>
                    <a:gd name="T2" fmla="*/ 0 w 61"/>
                    <a:gd name="T3" fmla="*/ 16 h 66"/>
                    <a:gd name="T4" fmla="*/ 26 w 61"/>
                    <a:gd name="T5" fmla="*/ 0 h 66"/>
                    <a:gd name="T6" fmla="*/ 61 w 61"/>
                    <a:gd name="T7" fmla="*/ 48 h 66"/>
                    <a:gd name="T8" fmla="*/ 37 w 61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6">
                      <a:moveTo>
                        <a:pt x="37" y="66"/>
                      </a:moveTo>
                      <a:lnTo>
                        <a:pt x="0" y="16"/>
                      </a:lnTo>
                      <a:lnTo>
                        <a:pt x="26" y="0"/>
                      </a:lnTo>
                      <a:lnTo>
                        <a:pt x="61" y="48"/>
                      </a:lnTo>
                      <a:lnTo>
                        <a:pt x="37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 268">
                  <a:extLst>
                    <a:ext uri="{FF2B5EF4-FFF2-40B4-BE49-F238E27FC236}">
                      <a16:creationId xmlns:a16="http://schemas.microsoft.com/office/drawing/2014/main" id="{6A9FE813-E6B8-4C88-B669-F9DD4D594F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2462213"/>
                  <a:ext cx="101600" cy="100013"/>
                </a:xfrm>
                <a:custGeom>
                  <a:avLst/>
                  <a:gdLst>
                    <a:gd name="T0" fmla="*/ 44 w 64"/>
                    <a:gd name="T1" fmla="*/ 63 h 63"/>
                    <a:gd name="T2" fmla="*/ 0 w 64"/>
                    <a:gd name="T3" fmla="*/ 23 h 63"/>
                    <a:gd name="T4" fmla="*/ 20 w 64"/>
                    <a:gd name="T5" fmla="*/ 0 h 63"/>
                    <a:gd name="T6" fmla="*/ 64 w 64"/>
                    <a:gd name="T7" fmla="*/ 41 h 63"/>
                    <a:gd name="T8" fmla="*/ 44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44" y="63"/>
                      </a:moveTo>
                      <a:lnTo>
                        <a:pt x="0" y="23"/>
                      </a:lnTo>
                      <a:lnTo>
                        <a:pt x="20" y="0"/>
                      </a:lnTo>
                      <a:lnTo>
                        <a:pt x="64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269">
                  <a:extLst>
                    <a:ext uri="{FF2B5EF4-FFF2-40B4-BE49-F238E27FC236}">
                      <a16:creationId xmlns:a16="http://schemas.microsoft.com/office/drawing/2014/main" id="{603A3DBC-6ECA-4B3E-A67C-A80CC97937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2616201"/>
                  <a:ext cx="106363" cy="87313"/>
                </a:xfrm>
                <a:custGeom>
                  <a:avLst/>
                  <a:gdLst>
                    <a:gd name="T0" fmla="*/ 52 w 67"/>
                    <a:gd name="T1" fmla="*/ 55 h 55"/>
                    <a:gd name="T2" fmla="*/ 0 w 67"/>
                    <a:gd name="T3" fmla="*/ 26 h 55"/>
                    <a:gd name="T4" fmla="*/ 15 w 67"/>
                    <a:gd name="T5" fmla="*/ 0 h 55"/>
                    <a:gd name="T6" fmla="*/ 67 w 67"/>
                    <a:gd name="T7" fmla="*/ 29 h 55"/>
                    <a:gd name="T8" fmla="*/ 52 w 67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5">
                      <a:moveTo>
                        <a:pt x="52" y="55"/>
                      </a:moveTo>
                      <a:lnTo>
                        <a:pt x="0" y="26"/>
                      </a:lnTo>
                      <a:lnTo>
                        <a:pt x="15" y="0"/>
                      </a:lnTo>
                      <a:lnTo>
                        <a:pt x="67" y="29"/>
                      </a:lnTo>
                      <a:lnTo>
                        <a:pt x="52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 270">
                  <a:extLst>
                    <a:ext uri="{FF2B5EF4-FFF2-40B4-BE49-F238E27FC236}">
                      <a16:creationId xmlns:a16="http://schemas.microsoft.com/office/drawing/2014/main" id="{0F7E6AE9-98CA-4620-AB33-54F1E0AB17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2789238"/>
                  <a:ext cx="104775" cy="76200"/>
                </a:xfrm>
                <a:custGeom>
                  <a:avLst/>
                  <a:gdLst>
                    <a:gd name="T0" fmla="*/ 57 w 66"/>
                    <a:gd name="T1" fmla="*/ 48 h 48"/>
                    <a:gd name="T2" fmla="*/ 0 w 66"/>
                    <a:gd name="T3" fmla="*/ 28 h 48"/>
                    <a:gd name="T4" fmla="*/ 9 w 66"/>
                    <a:gd name="T5" fmla="*/ 0 h 48"/>
                    <a:gd name="T6" fmla="*/ 66 w 66"/>
                    <a:gd name="T7" fmla="*/ 19 h 48"/>
                    <a:gd name="T8" fmla="*/ 57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6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 271">
                  <a:extLst>
                    <a:ext uri="{FF2B5EF4-FFF2-40B4-BE49-F238E27FC236}">
                      <a16:creationId xmlns:a16="http://schemas.microsoft.com/office/drawing/2014/main" id="{25BBFA28-CF4E-4B44-8A5A-FD93F243A2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2974976"/>
                  <a:ext cx="100013" cy="58738"/>
                </a:xfrm>
                <a:custGeom>
                  <a:avLst/>
                  <a:gdLst>
                    <a:gd name="T0" fmla="*/ 60 w 63"/>
                    <a:gd name="T1" fmla="*/ 37 h 37"/>
                    <a:gd name="T2" fmla="*/ 0 w 63"/>
                    <a:gd name="T3" fmla="*/ 31 h 37"/>
                    <a:gd name="T4" fmla="*/ 4 w 63"/>
                    <a:gd name="T5" fmla="*/ 0 h 37"/>
                    <a:gd name="T6" fmla="*/ 63 w 63"/>
                    <a:gd name="T7" fmla="*/ 7 h 37"/>
                    <a:gd name="T8" fmla="*/ 60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60" y="37"/>
                      </a:moveTo>
                      <a:lnTo>
                        <a:pt x="0" y="31"/>
                      </a:lnTo>
                      <a:lnTo>
                        <a:pt x="4" y="0"/>
                      </a:lnTo>
                      <a:lnTo>
                        <a:pt x="63" y="7"/>
                      </a:lnTo>
                      <a:lnTo>
                        <a:pt x="60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 272">
                  <a:extLst>
                    <a:ext uri="{FF2B5EF4-FFF2-40B4-BE49-F238E27FC236}">
                      <a16:creationId xmlns:a16="http://schemas.microsoft.com/office/drawing/2014/main" id="{7A84640E-2B53-4CC9-9204-FB7F96CBC0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3157538"/>
                  <a:ext cx="100013" cy="58738"/>
                </a:xfrm>
                <a:custGeom>
                  <a:avLst/>
                  <a:gdLst>
                    <a:gd name="T0" fmla="*/ 4 w 63"/>
                    <a:gd name="T1" fmla="*/ 37 h 37"/>
                    <a:gd name="T2" fmla="*/ 0 w 63"/>
                    <a:gd name="T3" fmla="*/ 7 h 37"/>
                    <a:gd name="T4" fmla="*/ 60 w 63"/>
                    <a:gd name="T5" fmla="*/ 0 h 37"/>
                    <a:gd name="T6" fmla="*/ 63 w 63"/>
                    <a:gd name="T7" fmla="*/ 31 h 37"/>
                    <a:gd name="T8" fmla="*/ 4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4" y="37"/>
                      </a:moveTo>
                      <a:lnTo>
                        <a:pt x="0" y="7"/>
                      </a:lnTo>
                      <a:lnTo>
                        <a:pt x="60" y="0"/>
                      </a:lnTo>
                      <a:lnTo>
                        <a:pt x="63" y="31"/>
                      </a:lnTo>
                      <a:lnTo>
                        <a:pt x="4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273">
                  <a:extLst>
                    <a:ext uri="{FF2B5EF4-FFF2-40B4-BE49-F238E27FC236}">
                      <a16:creationId xmlns:a16="http://schemas.microsoft.com/office/drawing/2014/main" id="{C6794764-EA44-4A35-B42E-D05D12C03F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3327401"/>
                  <a:ext cx="104775" cy="76200"/>
                </a:xfrm>
                <a:custGeom>
                  <a:avLst/>
                  <a:gdLst>
                    <a:gd name="T0" fmla="*/ 9 w 66"/>
                    <a:gd name="T1" fmla="*/ 48 h 48"/>
                    <a:gd name="T2" fmla="*/ 0 w 66"/>
                    <a:gd name="T3" fmla="*/ 19 h 48"/>
                    <a:gd name="T4" fmla="*/ 57 w 66"/>
                    <a:gd name="T5" fmla="*/ 0 h 48"/>
                    <a:gd name="T6" fmla="*/ 66 w 66"/>
                    <a:gd name="T7" fmla="*/ 30 h 48"/>
                    <a:gd name="T8" fmla="*/ 9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6" y="30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274">
                  <a:extLst>
                    <a:ext uri="{FF2B5EF4-FFF2-40B4-BE49-F238E27FC236}">
                      <a16:creationId xmlns:a16="http://schemas.microsoft.com/office/drawing/2014/main" id="{ECABC25A-4518-4111-9BA8-1DD818093C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3486151"/>
                  <a:ext cx="106363" cy="92075"/>
                </a:xfrm>
                <a:custGeom>
                  <a:avLst/>
                  <a:gdLst>
                    <a:gd name="T0" fmla="*/ 15 w 67"/>
                    <a:gd name="T1" fmla="*/ 58 h 58"/>
                    <a:gd name="T2" fmla="*/ 0 w 67"/>
                    <a:gd name="T3" fmla="*/ 30 h 58"/>
                    <a:gd name="T4" fmla="*/ 52 w 67"/>
                    <a:gd name="T5" fmla="*/ 0 h 58"/>
                    <a:gd name="T6" fmla="*/ 67 w 67"/>
                    <a:gd name="T7" fmla="*/ 26 h 58"/>
                    <a:gd name="T8" fmla="*/ 15 w 67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8">
                      <a:moveTo>
                        <a:pt x="15" y="58"/>
                      </a:moveTo>
                      <a:lnTo>
                        <a:pt x="0" y="30"/>
                      </a:lnTo>
                      <a:lnTo>
                        <a:pt x="52" y="0"/>
                      </a:lnTo>
                      <a:lnTo>
                        <a:pt x="67" y="26"/>
                      </a:lnTo>
                      <a:lnTo>
                        <a:pt x="15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 275">
                  <a:extLst>
                    <a:ext uri="{FF2B5EF4-FFF2-40B4-BE49-F238E27FC236}">
                      <a16:creationId xmlns:a16="http://schemas.microsoft.com/office/drawing/2014/main" id="{973AFCC4-A50F-4B89-9F66-FAF5189135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3627438"/>
                  <a:ext cx="101600" cy="100013"/>
                </a:xfrm>
                <a:custGeom>
                  <a:avLst/>
                  <a:gdLst>
                    <a:gd name="T0" fmla="*/ 20 w 64"/>
                    <a:gd name="T1" fmla="*/ 63 h 63"/>
                    <a:gd name="T2" fmla="*/ 0 w 64"/>
                    <a:gd name="T3" fmla="*/ 41 h 63"/>
                    <a:gd name="T4" fmla="*/ 44 w 64"/>
                    <a:gd name="T5" fmla="*/ 0 h 63"/>
                    <a:gd name="T6" fmla="*/ 64 w 64"/>
                    <a:gd name="T7" fmla="*/ 24 h 63"/>
                    <a:gd name="T8" fmla="*/ 20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4" y="24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 276">
                  <a:extLst>
                    <a:ext uri="{FF2B5EF4-FFF2-40B4-BE49-F238E27FC236}">
                      <a16:creationId xmlns:a16="http://schemas.microsoft.com/office/drawing/2014/main" id="{045645C6-3246-40C3-8BB4-A7D1CC944C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3748088"/>
                  <a:ext cx="96838" cy="106363"/>
                </a:xfrm>
                <a:custGeom>
                  <a:avLst/>
                  <a:gdLst>
                    <a:gd name="T0" fmla="*/ 26 w 61"/>
                    <a:gd name="T1" fmla="*/ 67 h 67"/>
                    <a:gd name="T2" fmla="*/ 0 w 61"/>
                    <a:gd name="T3" fmla="*/ 48 h 67"/>
                    <a:gd name="T4" fmla="*/ 37 w 61"/>
                    <a:gd name="T5" fmla="*/ 0 h 67"/>
                    <a:gd name="T6" fmla="*/ 61 w 61"/>
                    <a:gd name="T7" fmla="*/ 17 h 67"/>
                    <a:gd name="T8" fmla="*/ 26 w 61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7">
                      <a:moveTo>
                        <a:pt x="26" y="67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1" y="17"/>
                      </a:lnTo>
                      <a:lnTo>
                        <a:pt x="26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BFBFF1D-6A37-45C6-ACD9-C2169BB03779}"/>
                </a:ext>
              </a:extLst>
            </p:cNvPr>
            <p:cNvSpPr/>
            <p:nvPr/>
          </p:nvSpPr>
          <p:spPr>
            <a:xfrm>
              <a:off x="6953285" y="4801999"/>
              <a:ext cx="1476883" cy="14976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endParaRPr>
            </a:p>
          </p:txBody>
        </p:sp>
      </p:grp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04A6D5B-C512-43F6-8853-D13870CA10B3}"/>
              </a:ext>
            </a:extLst>
          </p:cNvPr>
          <p:cNvCxnSpPr>
            <a:cxnSpLocks/>
            <a:stCxn id="7" idx="56"/>
          </p:cNvCxnSpPr>
          <p:nvPr userDrawn="1"/>
        </p:nvCxnSpPr>
        <p:spPr>
          <a:xfrm>
            <a:off x="8922139" y="4968552"/>
            <a:ext cx="3269861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358A89B-C4A0-4BF6-A7C2-3F1B9632BFB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628982"/>
            <a:ext cx="7894216" cy="8099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D8A7A6F7-5F58-448E-ABB3-AECDCAC65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2500" y="1206500"/>
            <a:ext cx="5337175" cy="2257425"/>
          </a:xfrm>
        </p:spPr>
        <p:txBody>
          <a:bodyPr/>
          <a:lstStyle>
            <a:lvl1pPr marL="0" indent="0">
              <a:buNone/>
              <a:defRPr sz="6600">
                <a:latin typeface="+mj-lt"/>
              </a:defRPr>
            </a:lvl1pPr>
          </a:lstStyle>
          <a:p>
            <a:pPr lvl="0"/>
            <a:r>
              <a:rPr lang="en-US" sz="6600">
                <a:latin typeface="+mj-lt"/>
              </a:rPr>
              <a:t>Section Head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6534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, No Background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FC2F98-5944-4C9B-A2C3-BF4DC0C7C3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2164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FC2F98-5944-4C9B-A2C3-BF4DC0C7C3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716335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710628"/>
            <a:ext cx="10972801" cy="584775"/>
          </a:xfrm>
        </p:spPr>
        <p:txBody>
          <a:bodyPr/>
          <a:lstStyle>
            <a:lvl1pPr algn="l"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F566CE-49FA-417B-9FB1-1A8D365FE4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339428"/>
            <a:ext cx="10972801" cy="508000"/>
          </a:xfrm>
        </p:spPr>
        <p:txBody>
          <a:bodyPr/>
          <a:lstStyle>
            <a:lvl1pPr>
              <a:defRPr sz="1200"/>
            </a:lvl1pPr>
            <a:lvl2pPr marL="243779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4" name="Picture 9" descr="Walmart without taglin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2581" y="6324601"/>
            <a:ext cx="117982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14839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710628"/>
            <a:ext cx="10972801" cy="584775"/>
          </a:xfrm>
        </p:spPr>
        <p:txBody>
          <a:bodyPr/>
          <a:lstStyle>
            <a:lvl1pPr algn="l"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F566CE-49FA-417B-9FB1-1A8D365FE4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339428"/>
            <a:ext cx="10972801" cy="508000"/>
          </a:xfrm>
        </p:spPr>
        <p:txBody>
          <a:bodyPr/>
          <a:lstStyle>
            <a:lvl1pPr>
              <a:defRPr sz="1200"/>
            </a:lvl1pPr>
            <a:lvl2pPr marL="243779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23416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710628"/>
            <a:ext cx="10972801" cy="584775"/>
          </a:xfrm>
        </p:spPr>
        <p:txBody>
          <a:bodyPr/>
          <a:lstStyle>
            <a:lvl1pPr algn="l"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719601F-8B54-4E6D-9BF6-A33F2702CB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457200"/>
            <a:ext cx="10972801" cy="294640"/>
          </a:xfrm>
        </p:spPr>
        <p:txBody>
          <a:bodyPr anchor="ctr" anchorCtr="0"/>
          <a:lstStyle>
            <a:lvl1pPr>
              <a:defRPr sz="1066" b="1"/>
            </a:lvl1pPr>
            <a:lvl2pPr marL="243779" indent="0">
              <a:buNone/>
              <a:defRPr/>
            </a:lvl2pPr>
          </a:lstStyle>
          <a:p>
            <a:pPr lvl="0"/>
            <a:r>
              <a:rPr lang="en-US"/>
              <a:t>INSERT BREADCRUMB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CDC71F-F3CF-46E5-91EC-36F76B91A6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339428"/>
            <a:ext cx="10972801" cy="508000"/>
          </a:xfrm>
        </p:spPr>
        <p:txBody>
          <a:bodyPr/>
          <a:lstStyle>
            <a:lvl2pPr marL="243779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53392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lternate_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638812"/>
            <a:ext cx="3860801" cy="1159035"/>
          </a:xfrm>
        </p:spPr>
        <p:txBody>
          <a:bodyPr anchor="t" anchorCtr="0"/>
          <a:lstStyle>
            <a:lvl1pPr algn="l">
              <a:defRPr sz="3466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CDC71F-F3CF-46E5-91EC-36F76B91A6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" y="2286000"/>
            <a:ext cx="3860800" cy="1219200"/>
          </a:xfrm>
        </p:spPr>
        <p:txBody>
          <a:bodyPr/>
          <a:lstStyle>
            <a:lvl1pPr>
              <a:lnSpc>
                <a:spcPts val="1600"/>
              </a:lnSpc>
              <a:defRPr/>
            </a:lvl1pPr>
            <a:lvl2pPr marL="243779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38368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lternate_Content_Layout_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638812"/>
            <a:ext cx="3860801" cy="1159035"/>
          </a:xfrm>
        </p:spPr>
        <p:txBody>
          <a:bodyPr anchor="t" anchorCtr="0"/>
          <a:lstStyle>
            <a:lvl1pPr algn="l">
              <a:defRPr sz="3466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719601F-8B54-4E6D-9BF6-A33F2702CB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79401"/>
            <a:ext cx="3860800" cy="359411"/>
          </a:xfrm>
        </p:spPr>
        <p:txBody>
          <a:bodyPr anchor="ctr" anchorCtr="0"/>
          <a:lstStyle>
            <a:lvl1pPr>
              <a:defRPr sz="1066" b="1"/>
            </a:lvl1pPr>
            <a:lvl2pPr marL="243779" indent="0">
              <a:buNone/>
              <a:defRPr/>
            </a:lvl2pPr>
          </a:lstStyle>
          <a:p>
            <a:pPr lvl="0"/>
            <a:r>
              <a:rPr lang="en-US"/>
              <a:t>INSERT BREADCRUMB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CDC71F-F3CF-46E5-91EC-36F76B91A6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2286000"/>
            <a:ext cx="3504684" cy="1219200"/>
          </a:xfrm>
        </p:spPr>
        <p:txBody>
          <a:bodyPr/>
          <a:lstStyle>
            <a:lvl1pPr>
              <a:lnSpc>
                <a:spcPts val="1600"/>
              </a:lnSpc>
              <a:defRPr/>
            </a:lvl1pPr>
            <a:lvl2pPr marL="243779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9" descr="Walmart without taglin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2581" y="6324601"/>
            <a:ext cx="117982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83952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73709E-D6AA-483B-859C-C57E7E83372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84200" y="4069508"/>
            <a:ext cx="10972801" cy="625684"/>
          </a:xfrm>
        </p:spPr>
        <p:txBody>
          <a:bodyPr/>
          <a:lstStyle>
            <a:lvl1pPr algn="l">
              <a:defRPr sz="3466" b="1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1.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CDC71F-F3CF-46E5-91EC-36F76B91A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4739217"/>
            <a:ext cx="10972801" cy="508000"/>
          </a:xfrm>
        </p:spPr>
        <p:txBody>
          <a:bodyPr/>
          <a:lstStyle>
            <a:lvl1pPr>
              <a:defRPr sz="3199" b="1">
                <a:solidFill>
                  <a:schemeClr val="bg1"/>
                </a:solidFill>
              </a:defRPr>
            </a:lvl1pPr>
            <a:lvl2pPr marL="243779" indent="0">
              <a:buNone/>
              <a:defRPr/>
            </a:lvl2pPr>
          </a:lstStyle>
          <a:p>
            <a:pPr lvl="0"/>
            <a:r>
              <a:rPr lang="en-US"/>
              <a:t>Inser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478765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73709E-D6AA-483B-859C-C57E7E83372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84200" y="4069508"/>
            <a:ext cx="10972801" cy="625684"/>
          </a:xfrm>
        </p:spPr>
        <p:txBody>
          <a:bodyPr/>
          <a:lstStyle>
            <a:lvl1pPr algn="l">
              <a:defRPr sz="3466" b="1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1.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CDC71F-F3CF-46E5-91EC-36F76B91A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4739217"/>
            <a:ext cx="10972801" cy="508000"/>
          </a:xfrm>
        </p:spPr>
        <p:txBody>
          <a:bodyPr/>
          <a:lstStyle>
            <a:lvl1pPr>
              <a:defRPr sz="3199" b="1">
                <a:solidFill>
                  <a:schemeClr val="bg1"/>
                </a:solidFill>
              </a:defRPr>
            </a:lvl1pPr>
            <a:lvl2pPr marL="243779" indent="0">
              <a:buNone/>
              <a:defRPr/>
            </a:lvl2pPr>
          </a:lstStyle>
          <a:p>
            <a:pPr lvl="0"/>
            <a:r>
              <a:rPr lang="en-US"/>
              <a:t>Insert section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A606D64-828C-4C4C-8165-49FA02A001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Right click to change photo</a:t>
            </a:r>
          </a:p>
        </p:txBody>
      </p:sp>
    </p:spTree>
    <p:extLst>
      <p:ext uri="{BB962C8B-B14F-4D97-AF65-F5344CB8AC3E}">
        <p14:creationId xmlns:p14="http://schemas.microsoft.com/office/powerpoint/2010/main" val="37077773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tem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73709E-D6AA-483B-859C-C57E7E83372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CDC71F-F3CF-46E5-91EC-36F76B91A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30401" y="2463800"/>
            <a:ext cx="8331200" cy="2082800"/>
          </a:xfrm>
        </p:spPr>
        <p:txBody>
          <a:bodyPr anchor="ctr" anchorCtr="0"/>
          <a:lstStyle>
            <a:lvl1pPr algn="ctr">
              <a:defRPr sz="3999" b="1">
                <a:solidFill>
                  <a:schemeClr val="tx1"/>
                </a:solidFill>
              </a:defRPr>
            </a:lvl1pPr>
            <a:lvl2pPr marL="243779" indent="0">
              <a:buNone/>
              <a:defRPr/>
            </a:lvl2pPr>
          </a:lstStyle>
          <a:p>
            <a:pPr lvl="0"/>
            <a:r>
              <a:rPr lang="en-US"/>
              <a:t>Keep text to 1-2 lines for maximum impact.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5E598CA-3ECF-4D1E-9994-45C3DD2113A2}"/>
              </a:ext>
            </a:extLst>
          </p:cNvPr>
          <p:cNvSpPr/>
          <p:nvPr userDrawn="1"/>
        </p:nvSpPr>
        <p:spPr>
          <a:xfrm>
            <a:off x="4876801" y="2209800"/>
            <a:ext cx="2438400" cy="2438400"/>
          </a:xfrm>
          <a:prstGeom prst="ellipse">
            <a:avLst/>
          </a:prstGeom>
          <a:noFill/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88" tIns="60944" rIns="121888" bIns="60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A8015D5-B51B-4653-AFDE-E8EBC1E7CAE2}"/>
              </a:ext>
            </a:extLst>
          </p:cNvPr>
          <p:cNvSpPr/>
          <p:nvPr userDrawn="1"/>
        </p:nvSpPr>
        <p:spPr>
          <a:xfrm>
            <a:off x="2597152" y="-69849"/>
            <a:ext cx="6997700" cy="6997700"/>
          </a:xfrm>
          <a:prstGeom prst="ellipse">
            <a:avLst/>
          </a:prstGeom>
          <a:noFill/>
          <a:ln w="6350">
            <a:solidFill>
              <a:schemeClr val="accent2">
                <a:lumMod val="20000"/>
                <a:lumOff val="8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88" tIns="60944" rIns="121888" bIns="60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37045A0-793B-4C03-8AFC-E977C5F16C82}"/>
              </a:ext>
            </a:extLst>
          </p:cNvPr>
          <p:cNvSpPr/>
          <p:nvPr userDrawn="1"/>
        </p:nvSpPr>
        <p:spPr>
          <a:xfrm>
            <a:off x="319288" y="-2347713"/>
            <a:ext cx="11553428" cy="11553428"/>
          </a:xfrm>
          <a:prstGeom prst="ellipse">
            <a:avLst/>
          </a:prstGeom>
          <a:noFill/>
          <a:ln w="6350">
            <a:solidFill>
              <a:schemeClr val="accent2">
                <a:lumMod val="20000"/>
                <a:lumOff val="8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88" tIns="60944" rIns="121888" bIns="60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8613647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73709E-D6AA-483B-859C-C57E7E83372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CDC71F-F3CF-46E5-91EC-36F76B91A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170" y="2209800"/>
            <a:ext cx="8331200" cy="2082800"/>
          </a:xfrm>
        </p:spPr>
        <p:txBody>
          <a:bodyPr anchor="ctr" anchorCtr="0"/>
          <a:lstStyle>
            <a:lvl1pPr algn="l">
              <a:defRPr sz="3999" b="1">
                <a:solidFill>
                  <a:schemeClr val="bg1"/>
                </a:solidFill>
              </a:defRPr>
            </a:lvl1pPr>
            <a:lvl2pPr marL="243779" indent="0">
              <a:buNone/>
              <a:defRPr/>
            </a:lvl2pPr>
          </a:lstStyle>
          <a:p>
            <a:pPr lvl="0"/>
            <a:r>
              <a:rPr lang="en-US"/>
              <a:t>Thank you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580B927-B7D4-4125-B71C-4732B35244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731" y="381001"/>
            <a:ext cx="2158404" cy="877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6350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4B3AC-2137-4302-8FF0-2EB79DC6B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165168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15" imgH="416" progId="TCLayout.ActiveDocument.1">
                  <p:embed/>
                </p:oleObj>
              </mc:Choice>
              <mc:Fallback>
                <p:oleObj name="think-cell Slide" r:id="rId21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4B3AC-2137-4302-8FF0-2EB79DC6B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295400"/>
            <a:ext cx="10972801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709750"/>
            <a:ext cx="10972801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E3BDF7D1-D49F-45EC-96DE-0A6F226F12C5}"/>
              </a:ext>
            </a:extLst>
          </p:cNvPr>
          <p:cNvSpPr>
            <a:spLocks/>
          </p:cNvSpPr>
          <p:nvPr userDrawn="1"/>
        </p:nvSpPr>
        <p:spPr bwMode="auto">
          <a:xfrm>
            <a:off x="609600" y="6444148"/>
            <a:ext cx="3240513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84F2FB2-4A16-1542-BD5E-F56870239E74}" type="slidenum">
              <a:rPr lang="en-US" sz="800" smtClean="0">
                <a:solidFill>
                  <a:schemeClr val="bg1">
                    <a:lumMod val="65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 |  </a:t>
            </a:r>
            <a:r>
              <a:rPr lang="en-US" sz="800" b="0" i="0" u="none" strike="noStrike" kern="1200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n-ea"/>
                <a:cs typeface="+mn-cs"/>
              </a:rPr>
              <a:t>Copyright © 2025 Deloitte Development LLC. All rights reserved.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D989A0C-2E3B-4BA1-880B-6AD45932F00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06139" y="228997"/>
            <a:ext cx="1075999" cy="201629"/>
            <a:chOff x="469900" y="457761"/>
            <a:chExt cx="1998000" cy="374400"/>
          </a:xfrm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89098854-86DE-4223-85EE-14CEC1B0EF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60691" y="726016"/>
              <a:ext cx="107209" cy="106145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B2EB1E10-6A91-45C0-BC00-DCDC2A65C16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9900" y="459691"/>
              <a:ext cx="304086" cy="366679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ysClr val="windowText" lastClr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6F9D28F3-23EA-4FC5-81A1-C122313377B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93666" y="457761"/>
              <a:ext cx="91615" cy="368610"/>
            </a:xfrm>
            <a:prstGeom prst="rect">
              <a:avLst/>
            </a:prstGeom>
            <a:solidFill>
              <a:sysClr val="windowText" lastClr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8B355CE-CFDF-4465-ADC4-E49759420A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22318" y="548466"/>
              <a:ext cx="265101" cy="281764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ysClr val="windowText" lastClr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4C91DE93-BDB4-4214-95F2-F9C963F7A4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524454" y="552326"/>
              <a:ext cx="91615" cy="274044"/>
            </a:xfrm>
            <a:prstGeom prst="rect">
              <a:avLst/>
            </a:prstGeom>
            <a:solidFill>
              <a:sysClr val="windowText" lastClr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87213E72-1BDD-4D81-847A-927A42D87EC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524454" y="457761"/>
              <a:ext cx="91615" cy="61757"/>
            </a:xfrm>
            <a:prstGeom prst="rect">
              <a:avLst/>
            </a:prstGeom>
            <a:solidFill>
              <a:sysClr val="windowText" lastClr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1F460293-21CC-40C8-B92A-5BDEA09165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53106" y="465481"/>
              <a:ext cx="194927" cy="364750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ysClr val="windowText" lastClr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BC4A8B41-AA8B-4B9A-924F-CB503ED5DD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5577" y="465481"/>
              <a:ext cx="194927" cy="364750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ysClr val="windowText" lastClr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9A121C90-EEF5-4891-951D-3ECF13BDC4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79996" y="548466"/>
              <a:ext cx="259252" cy="281764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ysClr val="windowText" lastClr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1DE0D023-CDFE-45A4-9BCA-6F54D1BBDF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1276" y="548466"/>
              <a:ext cx="257303" cy="281764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ysClr val="windowText" lastClr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5204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</p:sldLayoutIdLst>
  <p:hf hdr="0" dt="0"/>
  <p:txStyles>
    <p:titleStyle>
      <a:lvl1pPr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charset="-128"/>
        </a:defRPr>
      </a:lvl5pPr>
      <a:lvl6pPr marL="609448" algn="l" rtl="0" fontAlgn="base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charset="-128"/>
        </a:defRPr>
      </a:lvl6pPr>
      <a:lvl7pPr marL="1218895" algn="l" rtl="0" fontAlgn="base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charset="-128"/>
        </a:defRPr>
      </a:lvl7pPr>
      <a:lvl8pPr marL="1828343" algn="l" rtl="0" fontAlgn="base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charset="-128"/>
        </a:defRPr>
      </a:lvl8pPr>
      <a:lvl9pPr marL="2437790" algn="l" rtl="0" fontAlgn="base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charset="-128"/>
        </a:defRPr>
      </a:lvl9pPr>
    </p:titleStyle>
    <p:bodyStyle>
      <a:lvl1pPr marL="0" indent="0" algn="l" rtl="0" fontAlgn="base">
        <a:spcBef>
          <a:spcPct val="0"/>
        </a:spcBef>
        <a:spcAft>
          <a:spcPct val="0"/>
        </a:spcAft>
        <a:buClr>
          <a:schemeClr val="accent1"/>
        </a:buClr>
        <a:buSzPct val="120000"/>
        <a:buFont typeface="Times" pitchFamily="18" charset="0"/>
        <a:buNone/>
        <a:defRPr sz="1200">
          <a:solidFill>
            <a:schemeClr val="tx1">
              <a:lumMod val="75000"/>
              <a:lumOff val="2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09448" indent="-365669" algn="l" rtl="0" fontAlgn="base">
        <a:spcBef>
          <a:spcPct val="0"/>
        </a:spcBef>
        <a:spcAft>
          <a:spcPct val="0"/>
        </a:spcAft>
        <a:buClr>
          <a:schemeClr val="accent1"/>
        </a:buClr>
        <a:buChar char="–"/>
        <a:defRPr sz="1600">
          <a:solidFill>
            <a:schemeClr val="tx1">
              <a:lumMod val="75000"/>
              <a:lumOff val="2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975116" indent="-365669" algn="l" rtl="0" fontAlgn="base">
        <a:spcBef>
          <a:spcPct val="0"/>
        </a:spcBef>
        <a:spcAft>
          <a:spcPct val="0"/>
        </a:spcAft>
        <a:buClr>
          <a:schemeClr val="accent1"/>
        </a:buClr>
        <a:buFont typeface="Times" pitchFamily="18" charset="0"/>
        <a:buChar char="•"/>
        <a:defRPr sz="1600">
          <a:solidFill>
            <a:schemeClr val="tx1">
              <a:lumMod val="75000"/>
              <a:lumOff val="2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340785" indent="-365669" algn="l" rtl="0" fontAlgn="base">
        <a:spcBef>
          <a:spcPct val="0"/>
        </a:spcBef>
        <a:spcAft>
          <a:spcPct val="0"/>
        </a:spcAft>
        <a:buClr>
          <a:schemeClr val="accent1"/>
        </a:buClr>
        <a:buFont typeface="Estrangelo Edessa" panose="03080600000000000000" pitchFamily="66" charset="0"/>
        <a:buChar char="›"/>
        <a:defRPr sz="1600">
          <a:solidFill>
            <a:schemeClr val="tx1">
              <a:lumMod val="75000"/>
              <a:lumOff val="2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1706453" indent="-365669" algn="l" rtl="0" fontAlgn="base">
        <a:spcBef>
          <a:spcPct val="0"/>
        </a:spcBef>
        <a:spcAft>
          <a:spcPct val="0"/>
        </a:spcAft>
        <a:buClr>
          <a:schemeClr val="accent1"/>
        </a:buClr>
        <a:buChar char="»"/>
        <a:defRPr sz="1600">
          <a:solidFill>
            <a:schemeClr val="tx1">
              <a:lumMod val="75000"/>
              <a:lumOff val="2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742514" indent="-298376" algn="l" rtl="0" fontAlgn="base">
        <a:spcBef>
          <a:spcPct val="0"/>
        </a:spcBef>
        <a:spcAft>
          <a:spcPct val="0"/>
        </a:spcAft>
        <a:buChar char="»"/>
        <a:defRPr sz="2666">
          <a:solidFill>
            <a:schemeClr val="tx1"/>
          </a:solidFill>
          <a:latin typeface="+mn-lt"/>
        </a:defRPr>
      </a:lvl6pPr>
      <a:lvl7pPr marL="3351962" indent="-298376" algn="l" rtl="0" fontAlgn="base">
        <a:spcBef>
          <a:spcPct val="0"/>
        </a:spcBef>
        <a:spcAft>
          <a:spcPct val="0"/>
        </a:spcAft>
        <a:buChar char="»"/>
        <a:defRPr sz="2666">
          <a:solidFill>
            <a:schemeClr val="tx1"/>
          </a:solidFill>
          <a:latin typeface="+mn-lt"/>
        </a:defRPr>
      </a:lvl7pPr>
      <a:lvl8pPr marL="3961409" indent="-298376" algn="l" rtl="0" fontAlgn="base">
        <a:spcBef>
          <a:spcPct val="0"/>
        </a:spcBef>
        <a:spcAft>
          <a:spcPct val="0"/>
        </a:spcAft>
        <a:buChar char="»"/>
        <a:defRPr sz="2666">
          <a:solidFill>
            <a:schemeClr val="tx1"/>
          </a:solidFill>
          <a:latin typeface="+mn-lt"/>
        </a:defRPr>
      </a:lvl8pPr>
      <a:lvl9pPr marL="4570857" indent="-298376" algn="l" rtl="0" fontAlgn="base">
        <a:spcBef>
          <a:spcPct val="0"/>
        </a:spcBef>
        <a:spcAft>
          <a:spcPct val="0"/>
        </a:spcAft>
        <a:buChar char="»"/>
        <a:defRPr sz="266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184024-15B5-4C01-9AA6-2201DCD0D5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184024-15B5-4C01-9AA6-2201DCD0D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721DE4-3280-4966-9915-17B20B91A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3819" y="544570"/>
            <a:ext cx="10363200" cy="594360"/>
          </a:xfrm>
        </p:spPr>
        <p:txBody>
          <a:bodyPr vert="horz"/>
          <a:lstStyle/>
          <a:p>
            <a:pPr>
              <a:lnSpc>
                <a:spcPct val="90000"/>
              </a:lnSpc>
              <a:defRPr/>
            </a:pPr>
            <a:r>
              <a:rPr lang="en-US" kern="1200" dirty="0"/>
              <a:t>Girish Naik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1E123-298B-4661-91AE-47AC53FFB7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8189" y="159698"/>
            <a:ext cx="5687409" cy="25090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>
                <a:solidFill>
                  <a:srgbClr val="19A2D7"/>
                </a:solidFill>
                <a:latin typeface="Open Sans"/>
              </a:rPr>
              <a:t>GEN AI ENGINE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F70C37D-FC7D-4FD8-A0A1-E5B0BAD8007A}"/>
              </a:ext>
            </a:extLst>
          </p:cNvPr>
          <p:cNvCxnSpPr>
            <a:cxnSpLocks/>
          </p:cNvCxnSpPr>
          <p:nvPr/>
        </p:nvCxnSpPr>
        <p:spPr>
          <a:xfrm>
            <a:off x="3498670" y="1447913"/>
            <a:ext cx="2468880" cy="0"/>
          </a:xfrm>
          <a:prstGeom prst="line">
            <a:avLst/>
          </a:prstGeom>
          <a:ln w="57150">
            <a:solidFill>
              <a:srgbClr val="C0E1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FBC54A85-A829-45A1-A2A1-DBC5939A1B2A}"/>
              </a:ext>
            </a:extLst>
          </p:cNvPr>
          <p:cNvSpPr/>
          <p:nvPr/>
        </p:nvSpPr>
        <p:spPr>
          <a:xfrm>
            <a:off x="3407230" y="1195303"/>
            <a:ext cx="512064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3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RELEVANT EXPERIENC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660290E-9892-4C68-9C7E-99ABCC6CD34C}"/>
              </a:ext>
            </a:extLst>
          </p:cNvPr>
          <p:cNvCxnSpPr>
            <a:cxnSpLocks/>
          </p:cNvCxnSpPr>
          <p:nvPr/>
        </p:nvCxnSpPr>
        <p:spPr>
          <a:xfrm>
            <a:off x="3501658" y="3931887"/>
            <a:ext cx="1920240" cy="0"/>
          </a:xfrm>
          <a:prstGeom prst="line">
            <a:avLst/>
          </a:prstGeom>
          <a:ln w="57150">
            <a:solidFill>
              <a:srgbClr val="C0E1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194A70BA-D496-4223-96D0-EB65FC34D6A2}"/>
              </a:ext>
            </a:extLst>
          </p:cNvPr>
          <p:cNvSpPr/>
          <p:nvPr/>
        </p:nvSpPr>
        <p:spPr>
          <a:xfrm>
            <a:off x="3421147" y="3668017"/>
            <a:ext cx="512064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3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RELEVANT SKILLS</a:t>
            </a:r>
          </a:p>
        </p:txBody>
      </p:sp>
      <p:sp>
        <p:nvSpPr>
          <p:cNvPr id="21" name="Flowchart: Connector 20">
            <a:extLst>
              <a:ext uri="{FF2B5EF4-FFF2-40B4-BE49-F238E27FC236}">
                <a16:creationId xmlns:a16="http://schemas.microsoft.com/office/drawing/2014/main" id="{163E8D0C-91F1-4C14-B595-8BC574219127}"/>
              </a:ext>
            </a:extLst>
          </p:cNvPr>
          <p:cNvSpPr/>
          <p:nvPr/>
        </p:nvSpPr>
        <p:spPr>
          <a:xfrm>
            <a:off x="3259531" y="1370766"/>
            <a:ext cx="137160" cy="137160"/>
          </a:xfrm>
          <a:prstGeom prst="flowChartConnector">
            <a:avLst/>
          </a:prstGeom>
          <a:solidFill>
            <a:schemeClr val="bg1"/>
          </a:solidFill>
          <a:ln w="28575">
            <a:solidFill>
              <a:srgbClr val="C0E1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Microsoft YaHei"/>
              <a:cs typeface="+mn-cs"/>
            </a:endParaRPr>
          </a:p>
        </p:txBody>
      </p:sp>
      <p:sp>
        <p:nvSpPr>
          <p:cNvPr id="22" name="Flowchart: Connector 21">
            <a:extLst>
              <a:ext uri="{FF2B5EF4-FFF2-40B4-BE49-F238E27FC236}">
                <a16:creationId xmlns:a16="http://schemas.microsoft.com/office/drawing/2014/main" id="{2205C281-6FD6-46DD-90C9-C3FE79C2EEC2}"/>
              </a:ext>
            </a:extLst>
          </p:cNvPr>
          <p:cNvSpPr/>
          <p:nvPr/>
        </p:nvSpPr>
        <p:spPr>
          <a:xfrm>
            <a:off x="3247339" y="3831423"/>
            <a:ext cx="137160" cy="137160"/>
          </a:xfrm>
          <a:prstGeom prst="flowChartConnector">
            <a:avLst/>
          </a:prstGeom>
          <a:solidFill>
            <a:schemeClr val="bg1"/>
          </a:solidFill>
          <a:ln w="28575">
            <a:solidFill>
              <a:srgbClr val="C0E1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Microsoft YaHei"/>
              <a:cs typeface="+mn-cs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3F03791-1FAE-4572-A4CE-ABDE47F2361A}"/>
              </a:ext>
            </a:extLst>
          </p:cNvPr>
          <p:cNvCxnSpPr>
            <a:cxnSpLocks/>
          </p:cNvCxnSpPr>
          <p:nvPr/>
        </p:nvCxnSpPr>
        <p:spPr>
          <a:xfrm>
            <a:off x="3316536" y="1520322"/>
            <a:ext cx="0" cy="2009363"/>
          </a:xfrm>
          <a:prstGeom prst="line">
            <a:avLst/>
          </a:prstGeom>
          <a:ln w="3175">
            <a:solidFill>
              <a:srgbClr val="C0E1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9761C8A-5E1C-498C-B7D5-6489FE38116D}"/>
              </a:ext>
            </a:extLst>
          </p:cNvPr>
          <p:cNvCxnSpPr>
            <a:cxnSpLocks/>
          </p:cNvCxnSpPr>
          <p:nvPr/>
        </p:nvCxnSpPr>
        <p:spPr>
          <a:xfrm>
            <a:off x="3313362" y="3903346"/>
            <a:ext cx="2557" cy="1134480"/>
          </a:xfrm>
          <a:prstGeom prst="line">
            <a:avLst/>
          </a:prstGeom>
          <a:ln w="3175">
            <a:solidFill>
              <a:srgbClr val="C0E1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8AD760B-FBAA-4564-9D82-2F578FCD6FD8}"/>
              </a:ext>
            </a:extLst>
          </p:cNvPr>
          <p:cNvCxnSpPr>
            <a:cxnSpLocks/>
          </p:cNvCxnSpPr>
          <p:nvPr/>
        </p:nvCxnSpPr>
        <p:spPr>
          <a:xfrm>
            <a:off x="3437710" y="5441724"/>
            <a:ext cx="3108960" cy="0"/>
          </a:xfrm>
          <a:prstGeom prst="line">
            <a:avLst/>
          </a:prstGeom>
          <a:ln w="57150">
            <a:solidFill>
              <a:srgbClr val="C0E1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BB7947B0-1CBE-451B-A21F-0C1379A0D2EB}"/>
              </a:ext>
            </a:extLst>
          </p:cNvPr>
          <p:cNvSpPr/>
          <p:nvPr/>
        </p:nvSpPr>
        <p:spPr>
          <a:xfrm>
            <a:off x="3384499" y="5188701"/>
            <a:ext cx="512064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3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</a:rPr>
              <a:t>EDUCATION/CERTIFICATIONS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269D93B-8FA8-4195-85F9-B90C623E7385}"/>
              </a:ext>
            </a:extLst>
          </p:cNvPr>
          <p:cNvCxnSpPr>
            <a:cxnSpLocks/>
          </p:cNvCxnSpPr>
          <p:nvPr/>
        </p:nvCxnSpPr>
        <p:spPr>
          <a:xfrm>
            <a:off x="3325554" y="5414131"/>
            <a:ext cx="0" cy="303148"/>
          </a:xfrm>
          <a:prstGeom prst="line">
            <a:avLst/>
          </a:prstGeom>
          <a:ln w="3175">
            <a:solidFill>
              <a:srgbClr val="C0E1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CC4A3F75-8F96-4C39-AEC6-A23E76CA6761}"/>
              </a:ext>
            </a:extLst>
          </p:cNvPr>
          <p:cNvSpPr/>
          <p:nvPr/>
        </p:nvSpPr>
        <p:spPr>
          <a:xfrm rot="5400000">
            <a:off x="-3357391" y="3357391"/>
            <a:ext cx="6858000" cy="143218"/>
          </a:xfrm>
          <a:prstGeom prst="rect">
            <a:avLst/>
          </a:prstGeom>
          <a:solidFill>
            <a:srgbClr val="C0E1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Microsoft YaHei"/>
              <a:cs typeface="+mn-cs"/>
            </a:endParaRPr>
          </a:p>
        </p:txBody>
      </p:sp>
      <p:sp>
        <p:nvSpPr>
          <p:cNvPr id="46" name="Text Placeholder 44">
            <a:extLst>
              <a:ext uri="{FF2B5EF4-FFF2-40B4-BE49-F238E27FC236}">
                <a16:creationId xmlns:a16="http://schemas.microsoft.com/office/drawing/2014/main" id="{B0725AD5-23EA-4992-B378-C36D8F2A4414}"/>
              </a:ext>
            </a:extLst>
          </p:cNvPr>
          <p:cNvSpPr txBox="1">
            <a:spLocks/>
          </p:cNvSpPr>
          <p:nvPr/>
        </p:nvSpPr>
        <p:spPr>
          <a:xfrm>
            <a:off x="1001750" y="3065997"/>
            <a:ext cx="2035097" cy="198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5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+91 </a:t>
            </a:r>
            <a:r>
              <a:rPr lang="en-US" sz="1050" spc="-30" dirty="0">
                <a:solidFill>
                  <a:srgbClr val="000000"/>
                </a:solidFill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95035-06624</a:t>
            </a:r>
            <a:endParaRPr kumimoji="0" lang="en-US" sz="1050" b="0" i="0" u="none" strike="noStrike" kern="1200" cap="none" spc="-3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CD57E10-0DE6-4AEC-A19C-03C7DB2440DA}"/>
              </a:ext>
            </a:extLst>
          </p:cNvPr>
          <p:cNvGrpSpPr>
            <a:grpSpLocks noChangeAspect="1"/>
          </p:cNvGrpSpPr>
          <p:nvPr/>
        </p:nvGrpSpPr>
        <p:grpSpPr>
          <a:xfrm>
            <a:off x="714539" y="3009171"/>
            <a:ext cx="279127" cy="279127"/>
            <a:chOff x="9348788" y="3340735"/>
            <a:chExt cx="522288" cy="522288"/>
          </a:xfrm>
          <a:solidFill>
            <a:schemeClr val="bg1">
              <a:lumMod val="50000"/>
            </a:schemeClr>
          </a:solidFill>
        </p:grpSpPr>
        <p:sp>
          <p:nvSpPr>
            <p:cNvPr id="49" name="Freeform 51">
              <a:extLst>
                <a:ext uri="{FF2B5EF4-FFF2-40B4-BE49-F238E27FC236}">
                  <a16:creationId xmlns:a16="http://schemas.microsoft.com/office/drawing/2014/main" id="{4C2BEEE2-A4D5-41FA-ACBD-FA53CA0B87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48788" y="3340735"/>
              <a:ext cx="522288" cy="522288"/>
            </a:xfrm>
            <a:custGeom>
              <a:avLst/>
              <a:gdLst>
                <a:gd name="T0" fmla="*/ 312 w 657"/>
                <a:gd name="T1" fmla="*/ 659 h 659"/>
                <a:gd name="T2" fmla="*/ 262 w 657"/>
                <a:gd name="T3" fmla="*/ 652 h 659"/>
                <a:gd name="T4" fmla="*/ 200 w 657"/>
                <a:gd name="T5" fmla="*/ 633 h 659"/>
                <a:gd name="T6" fmla="*/ 119 w 657"/>
                <a:gd name="T7" fmla="*/ 583 h 659"/>
                <a:gd name="T8" fmla="*/ 56 w 657"/>
                <a:gd name="T9" fmla="*/ 513 h 659"/>
                <a:gd name="T10" fmla="*/ 15 w 657"/>
                <a:gd name="T11" fmla="*/ 427 h 659"/>
                <a:gd name="T12" fmla="*/ 4 w 657"/>
                <a:gd name="T13" fmla="*/ 379 h 659"/>
                <a:gd name="T14" fmla="*/ 0 w 657"/>
                <a:gd name="T15" fmla="*/ 329 h 659"/>
                <a:gd name="T16" fmla="*/ 1 w 657"/>
                <a:gd name="T17" fmla="*/ 296 h 659"/>
                <a:gd name="T18" fmla="*/ 9 w 657"/>
                <a:gd name="T19" fmla="*/ 247 h 659"/>
                <a:gd name="T20" fmla="*/ 39 w 657"/>
                <a:gd name="T21" fmla="*/ 173 h 659"/>
                <a:gd name="T22" fmla="*/ 97 w 657"/>
                <a:gd name="T23" fmla="*/ 97 h 659"/>
                <a:gd name="T24" fmla="*/ 172 w 657"/>
                <a:gd name="T25" fmla="*/ 40 h 659"/>
                <a:gd name="T26" fmla="*/ 246 w 657"/>
                <a:gd name="T27" fmla="*/ 11 h 659"/>
                <a:gd name="T28" fmla="*/ 295 w 657"/>
                <a:gd name="T29" fmla="*/ 3 h 659"/>
                <a:gd name="T30" fmla="*/ 329 w 657"/>
                <a:gd name="T31" fmla="*/ 0 h 659"/>
                <a:gd name="T32" fmla="*/ 379 w 657"/>
                <a:gd name="T33" fmla="*/ 4 h 659"/>
                <a:gd name="T34" fmla="*/ 426 w 657"/>
                <a:gd name="T35" fmla="*/ 16 h 659"/>
                <a:gd name="T36" fmla="*/ 512 w 657"/>
                <a:gd name="T37" fmla="*/ 56 h 659"/>
                <a:gd name="T38" fmla="*/ 582 w 657"/>
                <a:gd name="T39" fmla="*/ 121 h 659"/>
                <a:gd name="T40" fmla="*/ 631 w 657"/>
                <a:gd name="T41" fmla="*/ 202 h 659"/>
                <a:gd name="T42" fmla="*/ 650 w 657"/>
                <a:gd name="T43" fmla="*/ 263 h 659"/>
                <a:gd name="T44" fmla="*/ 657 w 657"/>
                <a:gd name="T45" fmla="*/ 313 h 659"/>
                <a:gd name="T46" fmla="*/ 657 w 657"/>
                <a:gd name="T47" fmla="*/ 347 h 659"/>
                <a:gd name="T48" fmla="*/ 650 w 657"/>
                <a:gd name="T49" fmla="*/ 397 h 659"/>
                <a:gd name="T50" fmla="*/ 631 w 657"/>
                <a:gd name="T51" fmla="*/ 457 h 659"/>
                <a:gd name="T52" fmla="*/ 582 w 657"/>
                <a:gd name="T53" fmla="*/ 539 h 659"/>
                <a:gd name="T54" fmla="*/ 512 w 657"/>
                <a:gd name="T55" fmla="*/ 602 h 659"/>
                <a:gd name="T56" fmla="*/ 426 w 657"/>
                <a:gd name="T57" fmla="*/ 644 h 659"/>
                <a:gd name="T58" fmla="*/ 379 w 657"/>
                <a:gd name="T59" fmla="*/ 655 h 659"/>
                <a:gd name="T60" fmla="*/ 329 w 657"/>
                <a:gd name="T61" fmla="*/ 659 h 659"/>
                <a:gd name="T62" fmla="*/ 329 w 657"/>
                <a:gd name="T63" fmla="*/ 38 h 659"/>
                <a:gd name="T64" fmla="*/ 242 w 657"/>
                <a:gd name="T65" fmla="*/ 51 h 659"/>
                <a:gd name="T66" fmla="*/ 165 w 657"/>
                <a:gd name="T67" fmla="*/ 89 h 659"/>
                <a:gd name="T68" fmla="*/ 103 w 657"/>
                <a:gd name="T69" fmla="*/ 144 h 659"/>
                <a:gd name="T70" fmla="*/ 60 w 657"/>
                <a:gd name="T71" fmla="*/ 216 h 659"/>
                <a:gd name="T72" fmla="*/ 39 w 657"/>
                <a:gd name="T73" fmla="*/ 300 h 659"/>
                <a:gd name="T74" fmla="*/ 39 w 657"/>
                <a:gd name="T75" fmla="*/ 359 h 659"/>
                <a:gd name="T76" fmla="*/ 60 w 657"/>
                <a:gd name="T77" fmla="*/ 444 h 659"/>
                <a:gd name="T78" fmla="*/ 103 w 657"/>
                <a:gd name="T79" fmla="*/ 515 h 659"/>
                <a:gd name="T80" fmla="*/ 165 w 657"/>
                <a:gd name="T81" fmla="*/ 571 h 659"/>
                <a:gd name="T82" fmla="*/ 242 w 657"/>
                <a:gd name="T83" fmla="*/ 608 h 659"/>
                <a:gd name="T84" fmla="*/ 329 w 657"/>
                <a:gd name="T85" fmla="*/ 621 h 659"/>
                <a:gd name="T86" fmla="*/ 387 w 657"/>
                <a:gd name="T87" fmla="*/ 616 h 659"/>
                <a:gd name="T88" fmla="*/ 468 w 657"/>
                <a:gd name="T89" fmla="*/ 586 h 659"/>
                <a:gd name="T90" fmla="*/ 535 w 657"/>
                <a:gd name="T91" fmla="*/ 535 h 659"/>
                <a:gd name="T92" fmla="*/ 584 w 657"/>
                <a:gd name="T93" fmla="*/ 468 h 659"/>
                <a:gd name="T94" fmla="*/ 614 w 657"/>
                <a:gd name="T95" fmla="*/ 388 h 659"/>
                <a:gd name="T96" fmla="*/ 619 w 657"/>
                <a:gd name="T97" fmla="*/ 329 h 659"/>
                <a:gd name="T98" fmla="*/ 607 w 657"/>
                <a:gd name="T99" fmla="*/ 243 h 659"/>
                <a:gd name="T100" fmla="*/ 570 w 657"/>
                <a:gd name="T101" fmla="*/ 167 h 659"/>
                <a:gd name="T102" fmla="*/ 513 w 657"/>
                <a:gd name="T103" fmla="*/ 105 h 659"/>
                <a:gd name="T104" fmla="*/ 442 w 657"/>
                <a:gd name="T105" fmla="*/ 62 h 659"/>
                <a:gd name="T106" fmla="*/ 359 w 657"/>
                <a:gd name="T107" fmla="*/ 40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9">
                  <a:moveTo>
                    <a:pt x="329" y="659"/>
                  </a:moveTo>
                  <a:lnTo>
                    <a:pt x="329" y="659"/>
                  </a:lnTo>
                  <a:lnTo>
                    <a:pt x="312" y="659"/>
                  </a:lnTo>
                  <a:lnTo>
                    <a:pt x="295" y="657"/>
                  </a:lnTo>
                  <a:lnTo>
                    <a:pt x="278" y="655"/>
                  </a:lnTo>
                  <a:lnTo>
                    <a:pt x="262" y="652"/>
                  </a:lnTo>
                  <a:lnTo>
                    <a:pt x="246" y="648"/>
                  </a:lnTo>
                  <a:lnTo>
                    <a:pt x="231" y="644"/>
                  </a:lnTo>
                  <a:lnTo>
                    <a:pt x="200" y="633"/>
                  </a:lnTo>
                  <a:lnTo>
                    <a:pt x="172" y="618"/>
                  </a:lnTo>
                  <a:lnTo>
                    <a:pt x="145" y="602"/>
                  </a:lnTo>
                  <a:lnTo>
                    <a:pt x="119" y="583"/>
                  </a:lnTo>
                  <a:lnTo>
                    <a:pt x="97" y="562"/>
                  </a:lnTo>
                  <a:lnTo>
                    <a:pt x="75" y="539"/>
                  </a:lnTo>
                  <a:lnTo>
                    <a:pt x="56" y="513"/>
                  </a:lnTo>
                  <a:lnTo>
                    <a:pt x="39" y="487"/>
                  </a:lnTo>
                  <a:lnTo>
                    <a:pt x="25" y="457"/>
                  </a:lnTo>
                  <a:lnTo>
                    <a:pt x="15" y="427"/>
                  </a:lnTo>
                  <a:lnTo>
                    <a:pt x="9" y="411"/>
                  </a:lnTo>
                  <a:lnTo>
                    <a:pt x="7" y="397"/>
                  </a:lnTo>
                  <a:lnTo>
                    <a:pt x="4" y="379"/>
                  </a:lnTo>
                  <a:lnTo>
                    <a:pt x="1" y="363"/>
                  </a:lnTo>
                  <a:lnTo>
                    <a:pt x="0" y="347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0" y="313"/>
                  </a:lnTo>
                  <a:lnTo>
                    <a:pt x="1" y="296"/>
                  </a:lnTo>
                  <a:lnTo>
                    <a:pt x="4" y="280"/>
                  </a:lnTo>
                  <a:lnTo>
                    <a:pt x="7" y="263"/>
                  </a:lnTo>
                  <a:lnTo>
                    <a:pt x="9" y="247"/>
                  </a:lnTo>
                  <a:lnTo>
                    <a:pt x="15" y="233"/>
                  </a:lnTo>
                  <a:lnTo>
                    <a:pt x="25" y="202"/>
                  </a:lnTo>
                  <a:lnTo>
                    <a:pt x="39" y="173"/>
                  </a:lnTo>
                  <a:lnTo>
                    <a:pt x="56" y="147"/>
                  </a:lnTo>
                  <a:lnTo>
                    <a:pt x="75" y="121"/>
                  </a:lnTo>
                  <a:lnTo>
                    <a:pt x="97" y="97"/>
                  </a:lnTo>
                  <a:lnTo>
                    <a:pt x="119" y="75"/>
                  </a:lnTo>
                  <a:lnTo>
                    <a:pt x="145" y="56"/>
                  </a:lnTo>
                  <a:lnTo>
                    <a:pt x="172" y="40"/>
                  </a:lnTo>
                  <a:lnTo>
                    <a:pt x="200" y="27"/>
                  </a:lnTo>
                  <a:lnTo>
                    <a:pt x="231" y="16"/>
                  </a:lnTo>
                  <a:lnTo>
                    <a:pt x="246" y="11"/>
                  </a:lnTo>
                  <a:lnTo>
                    <a:pt x="262" y="7"/>
                  </a:lnTo>
                  <a:lnTo>
                    <a:pt x="278" y="4"/>
                  </a:lnTo>
                  <a:lnTo>
                    <a:pt x="295" y="3"/>
                  </a:lnTo>
                  <a:lnTo>
                    <a:pt x="312" y="1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1"/>
                  </a:lnTo>
                  <a:lnTo>
                    <a:pt x="363" y="3"/>
                  </a:lnTo>
                  <a:lnTo>
                    <a:pt x="379" y="4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6" y="16"/>
                  </a:lnTo>
                  <a:lnTo>
                    <a:pt x="457" y="27"/>
                  </a:lnTo>
                  <a:lnTo>
                    <a:pt x="485" y="40"/>
                  </a:lnTo>
                  <a:lnTo>
                    <a:pt x="512" y="56"/>
                  </a:lnTo>
                  <a:lnTo>
                    <a:pt x="537" y="75"/>
                  </a:lnTo>
                  <a:lnTo>
                    <a:pt x="562" y="97"/>
                  </a:lnTo>
                  <a:lnTo>
                    <a:pt x="582" y="121"/>
                  </a:lnTo>
                  <a:lnTo>
                    <a:pt x="601" y="147"/>
                  </a:lnTo>
                  <a:lnTo>
                    <a:pt x="618" y="173"/>
                  </a:lnTo>
                  <a:lnTo>
                    <a:pt x="631" y="202"/>
                  </a:lnTo>
                  <a:lnTo>
                    <a:pt x="642" y="233"/>
                  </a:lnTo>
                  <a:lnTo>
                    <a:pt x="648" y="247"/>
                  </a:lnTo>
                  <a:lnTo>
                    <a:pt x="650" y="263"/>
                  </a:lnTo>
                  <a:lnTo>
                    <a:pt x="653" y="280"/>
                  </a:lnTo>
                  <a:lnTo>
                    <a:pt x="656" y="296"/>
                  </a:lnTo>
                  <a:lnTo>
                    <a:pt x="657" y="313"/>
                  </a:lnTo>
                  <a:lnTo>
                    <a:pt x="657" y="329"/>
                  </a:lnTo>
                  <a:lnTo>
                    <a:pt x="657" y="329"/>
                  </a:lnTo>
                  <a:lnTo>
                    <a:pt x="657" y="347"/>
                  </a:lnTo>
                  <a:lnTo>
                    <a:pt x="656" y="363"/>
                  </a:lnTo>
                  <a:lnTo>
                    <a:pt x="653" y="379"/>
                  </a:lnTo>
                  <a:lnTo>
                    <a:pt x="650" y="397"/>
                  </a:lnTo>
                  <a:lnTo>
                    <a:pt x="648" y="411"/>
                  </a:lnTo>
                  <a:lnTo>
                    <a:pt x="642" y="427"/>
                  </a:lnTo>
                  <a:lnTo>
                    <a:pt x="631" y="457"/>
                  </a:lnTo>
                  <a:lnTo>
                    <a:pt x="618" y="487"/>
                  </a:lnTo>
                  <a:lnTo>
                    <a:pt x="601" y="513"/>
                  </a:lnTo>
                  <a:lnTo>
                    <a:pt x="582" y="539"/>
                  </a:lnTo>
                  <a:lnTo>
                    <a:pt x="562" y="562"/>
                  </a:lnTo>
                  <a:lnTo>
                    <a:pt x="537" y="583"/>
                  </a:lnTo>
                  <a:lnTo>
                    <a:pt x="512" y="602"/>
                  </a:lnTo>
                  <a:lnTo>
                    <a:pt x="485" y="618"/>
                  </a:lnTo>
                  <a:lnTo>
                    <a:pt x="457" y="633"/>
                  </a:lnTo>
                  <a:lnTo>
                    <a:pt x="426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5"/>
                  </a:lnTo>
                  <a:lnTo>
                    <a:pt x="363" y="657"/>
                  </a:lnTo>
                  <a:lnTo>
                    <a:pt x="345" y="659"/>
                  </a:lnTo>
                  <a:lnTo>
                    <a:pt x="329" y="659"/>
                  </a:lnTo>
                  <a:lnTo>
                    <a:pt x="329" y="659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298" y="40"/>
                  </a:lnTo>
                  <a:lnTo>
                    <a:pt x="270" y="44"/>
                  </a:lnTo>
                  <a:lnTo>
                    <a:pt x="242" y="51"/>
                  </a:lnTo>
                  <a:lnTo>
                    <a:pt x="215" y="62"/>
                  </a:lnTo>
                  <a:lnTo>
                    <a:pt x="189" y="74"/>
                  </a:lnTo>
                  <a:lnTo>
                    <a:pt x="165" y="89"/>
                  </a:lnTo>
                  <a:lnTo>
                    <a:pt x="144" y="105"/>
                  </a:lnTo>
                  <a:lnTo>
                    <a:pt x="122" y="124"/>
                  </a:lnTo>
                  <a:lnTo>
                    <a:pt x="103" y="144"/>
                  </a:lnTo>
                  <a:lnTo>
                    <a:pt x="87" y="167"/>
                  </a:lnTo>
                  <a:lnTo>
                    <a:pt x="72" y="191"/>
                  </a:lnTo>
                  <a:lnTo>
                    <a:pt x="60" y="216"/>
                  </a:lnTo>
                  <a:lnTo>
                    <a:pt x="51" y="243"/>
                  </a:lnTo>
                  <a:lnTo>
                    <a:pt x="43" y="272"/>
                  </a:lnTo>
                  <a:lnTo>
                    <a:pt x="39" y="300"/>
                  </a:lnTo>
                  <a:lnTo>
                    <a:pt x="37" y="329"/>
                  </a:lnTo>
                  <a:lnTo>
                    <a:pt x="37" y="329"/>
                  </a:lnTo>
                  <a:lnTo>
                    <a:pt x="39" y="359"/>
                  </a:lnTo>
                  <a:lnTo>
                    <a:pt x="43" y="388"/>
                  </a:lnTo>
                  <a:lnTo>
                    <a:pt x="51" y="417"/>
                  </a:lnTo>
                  <a:lnTo>
                    <a:pt x="60" y="444"/>
                  </a:lnTo>
                  <a:lnTo>
                    <a:pt x="72" y="468"/>
                  </a:lnTo>
                  <a:lnTo>
                    <a:pt x="87" y="492"/>
                  </a:lnTo>
                  <a:lnTo>
                    <a:pt x="103" y="515"/>
                  </a:lnTo>
                  <a:lnTo>
                    <a:pt x="122" y="535"/>
                  </a:lnTo>
                  <a:lnTo>
                    <a:pt x="144" y="554"/>
                  </a:lnTo>
                  <a:lnTo>
                    <a:pt x="165" y="571"/>
                  </a:lnTo>
                  <a:lnTo>
                    <a:pt x="189" y="586"/>
                  </a:lnTo>
                  <a:lnTo>
                    <a:pt x="215" y="598"/>
                  </a:lnTo>
                  <a:lnTo>
                    <a:pt x="242" y="608"/>
                  </a:lnTo>
                  <a:lnTo>
                    <a:pt x="270" y="616"/>
                  </a:lnTo>
                  <a:lnTo>
                    <a:pt x="298" y="620"/>
                  </a:lnTo>
                  <a:lnTo>
                    <a:pt x="329" y="621"/>
                  </a:lnTo>
                  <a:lnTo>
                    <a:pt x="329" y="621"/>
                  </a:lnTo>
                  <a:lnTo>
                    <a:pt x="359" y="620"/>
                  </a:lnTo>
                  <a:lnTo>
                    <a:pt x="387" y="616"/>
                  </a:lnTo>
                  <a:lnTo>
                    <a:pt x="415" y="608"/>
                  </a:lnTo>
                  <a:lnTo>
                    <a:pt x="442" y="598"/>
                  </a:lnTo>
                  <a:lnTo>
                    <a:pt x="468" y="586"/>
                  </a:lnTo>
                  <a:lnTo>
                    <a:pt x="492" y="571"/>
                  </a:lnTo>
                  <a:lnTo>
                    <a:pt x="513" y="554"/>
                  </a:lnTo>
                  <a:lnTo>
                    <a:pt x="535" y="535"/>
                  </a:lnTo>
                  <a:lnTo>
                    <a:pt x="554" y="515"/>
                  </a:lnTo>
                  <a:lnTo>
                    <a:pt x="570" y="492"/>
                  </a:lnTo>
                  <a:lnTo>
                    <a:pt x="584" y="468"/>
                  </a:lnTo>
                  <a:lnTo>
                    <a:pt x="597" y="444"/>
                  </a:lnTo>
                  <a:lnTo>
                    <a:pt x="607" y="417"/>
                  </a:lnTo>
                  <a:lnTo>
                    <a:pt x="614" y="388"/>
                  </a:lnTo>
                  <a:lnTo>
                    <a:pt x="618" y="359"/>
                  </a:lnTo>
                  <a:lnTo>
                    <a:pt x="619" y="329"/>
                  </a:lnTo>
                  <a:lnTo>
                    <a:pt x="619" y="329"/>
                  </a:lnTo>
                  <a:lnTo>
                    <a:pt x="618" y="300"/>
                  </a:lnTo>
                  <a:lnTo>
                    <a:pt x="614" y="272"/>
                  </a:lnTo>
                  <a:lnTo>
                    <a:pt x="607" y="243"/>
                  </a:lnTo>
                  <a:lnTo>
                    <a:pt x="597" y="216"/>
                  </a:lnTo>
                  <a:lnTo>
                    <a:pt x="584" y="191"/>
                  </a:lnTo>
                  <a:lnTo>
                    <a:pt x="570" y="167"/>
                  </a:lnTo>
                  <a:lnTo>
                    <a:pt x="554" y="144"/>
                  </a:lnTo>
                  <a:lnTo>
                    <a:pt x="535" y="124"/>
                  </a:lnTo>
                  <a:lnTo>
                    <a:pt x="513" y="105"/>
                  </a:lnTo>
                  <a:lnTo>
                    <a:pt x="492" y="89"/>
                  </a:lnTo>
                  <a:lnTo>
                    <a:pt x="468" y="74"/>
                  </a:lnTo>
                  <a:lnTo>
                    <a:pt x="442" y="62"/>
                  </a:lnTo>
                  <a:lnTo>
                    <a:pt x="415" y="51"/>
                  </a:lnTo>
                  <a:lnTo>
                    <a:pt x="387" y="44"/>
                  </a:lnTo>
                  <a:lnTo>
                    <a:pt x="359" y="40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Microsoft YaHei"/>
                <a:cs typeface="+mn-cs"/>
              </a:endParaRPr>
            </a:p>
          </p:txBody>
        </p:sp>
        <p:sp>
          <p:nvSpPr>
            <p:cNvPr id="50" name="Freeform 285">
              <a:extLst>
                <a:ext uri="{FF2B5EF4-FFF2-40B4-BE49-F238E27FC236}">
                  <a16:creationId xmlns:a16="http://schemas.microsoft.com/office/drawing/2014/main" id="{C54A0C71-260D-4C29-A4E7-4C6BE9CEE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8013" y="3491548"/>
              <a:ext cx="225425" cy="228600"/>
            </a:xfrm>
            <a:custGeom>
              <a:avLst/>
              <a:gdLst>
                <a:gd name="T0" fmla="*/ 235 w 285"/>
                <a:gd name="T1" fmla="*/ 286 h 286"/>
                <a:gd name="T2" fmla="*/ 235 w 285"/>
                <a:gd name="T3" fmla="*/ 286 h 286"/>
                <a:gd name="T4" fmla="*/ 211 w 285"/>
                <a:gd name="T5" fmla="*/ 285 h 286"/>
                <a:gd name="T6" fmla="*/ 187 w 285"/>
                <a:gd name="T7" fmla="*/ 281 h 286"/>
                <a:gd name="T8" fmla="*/ 165 w 285"/>
                <a:gd name="T9" fmla="*/ 275 h 286"/>
                <a:gd name="T10" fmla="*/ 144 w 285"/>
                <a:gd name="T11" fmla="*/ 267 h 286"/>
                <a:gd name="T12" fmla="*/ 122 w 285"/>
                <a:gd name="T13" fmla="*/ 257 h 286"/>
                <a:gd name="T14" fmla="*/ 103 w 285"/>
                <a:gd name="T15" fmla="*/ 246 h 286"/>
                <a:gd name="T16" fmla="*/ 85 w 285"/>
                <a:gd name="T17" fmla="*/ 232 h 286"/>
                <a:gd name="T18" fmla="*/ 69 w 285"/>
                <a:gd name="T19" fmla="*/ 216 h 286"/>
                <a:gd name="T20" fmla="*/ 54 w 285"/>
                <a:gd name="T21" fmla="*/ 200 h 286"/>
                <a:gd name="T22" fmla="*/ 40 w 285"/>
                <a:gd name="T23" fmla="*/ 181 h 286"/>
                <a:gd name="T24" fmla="*/ 28 w 285"/>
                <a:gd name="T25" fmla="*/ 163 h 286"/>
                <a:gd name="T26" fmla="*/ 17 w 285"/>
                <a:gd name="T27" fmla="*/ 142 h 286"/>
                <a:gd name="T28" fmla="*/ 9 w 285"/>
                <a:gd name="T29" fmla="*/ 121 h 286"/>
                <a:gd name="T30" fmla="*/ 4 w 285"/>
                <a:gd name="T31" fmla="*/ 98 h 286"/>
                <a:gd name="T32" fmla="*/ 0 w 285"/>
                <a:gd name="T33" fmla="*/ 74 h 286"/>
                <a:gd name="T34" fmla="*/ 0 w 285"/>
                <a:gd name="T35" fmla="*/ 51 h 286"/>
                <a:gd name="T36" fmla="*/ 0 w 285"/>
                <a:gd name="T37" fmla="*/ 51 h 286"/>
                <a:gd name="T38" fmla="*/ 1 w 285"/>
                <a:gd name="T39" fmla="*/ 47 h 286"/>
                <a:gd name="T40" fmla="*/ 46 w 285"/>
                <a:gd name="T41" fmla="*/ 3 h 286"/>
                <a:gd name="T42" fmla="*/ 46 w 285"/>
                <a:gd name="T43" fmla="*/ 3 h 286"/>
                <a:gd name="T44" fmla="*/ 48 w 285"/>
                <a:gd name="T45" fmla="*/ 0 h 286"/>
                <a:gd name="T46" fmla="*/ 52 w 285"/>
                <a:gd name="T47" fmla="*/ 0 h 286"/>
                <a:gd name="T48" fmla="*/ 56 w 285"/>
                <a:gd name="T49" fmla="*/ 0 h 286"/>
                <a:gd name="T50" fmla="*/ 59 w 285"/>
                <a:gd name="T51" fmla="*/ 3 h 286"/>
                <a:gd name="T52" fmla="*/ 120 w 285"/>
                <a:gd name="T53" fmla="*/ 63 h 286"/>
                <a:gd name="T54" fmla="*/ 120 w 285"/>
                <a:gd name="T55" fmla="*/ 63 h 286"/>
                <a:gd name="T56" fmla="*/ 121 w 285"/>
                <a:gd name="T57" fmla="*/ 66 h 286"/>
                <a:gd name="T58" fmla="*/ 122 w 285"/>
                <a:gd name="T59" fmla="*/ 70 h 286"/>
                <a:gd name="T60" fmla="*/ 121 w 285"/>
                <a:gd name="T61" fmla="*/ 74 h 286"/>
                <a:gd name="T62" fmla="*/ 120 w 285"/>
                <a:gd name="T63" fmla="*/ 77 h 286"/>
                <a:gd name="T64" fmla="*/ 78 w 285"/>
                <a:gd name="T65" fmla="*/ 118 h 286"/>
                <a:gd name="T66" fmla="*/ 168 w 285"/>
                <a:gd name="T67" fmla="*/ 207 h 286"/>
                <a:gd name="T68" fmla="*/ 208 w 285"/>
                <a:gd name="T69" fmla="*/ 165 h 286"/>
                <a:gd name="T70" fmla="*/ 208 w 285"/>
                <a:gd name="T71" fmla="*/ 165 h 286"/>
                <a:gd name="T72" fmla="*/ 212 w 285"/>
                <a:gd name="T73" fmla="*/ 164 h 286"/>
                <a:gd name="T74" fmla="*/ 215 w 285"/>
                <a:gd name="T75" fmla="*/ 163 h 286"/>
                <a:gd name="T76" fmla="*/ 219 w 285"/>
                <a:gd name="T77" fmla="*/ 164 h 286"/>
                <a:gd name="T78" fmla="*/ 222 w 285"/>
                <a:gd name="T79" fmla="*/ 165 h 286"/>
                <a:gd name="T80" fmla="*/ 282 w 285"/>
                <a:gd name="T81" fmla="*/ 226 h 286"/>
                <a:gd name="T82" fmla="*/ 282 w 285"/>
                <a:gd name="T83" fmla="*/ 226 h 286"/>
                <a:gd name="T84" fmla="*/ 285 w 285"/>
                <a:gd name="T85" fmla="*/ 230 h 286"/>
                <a:gd name="T86" fmla="*/ 285 w 285"/>
                <a:gd name="T87" fmla="*/ 232 h 286"/>
                <a:gd name="T88" fmla="*/ 285 w 285"/>
                <a:gd name="T89" fmla="*/ 236 h 286"/>
                <a:gd name="T90" fmla="*/ 282 w 285"/>
                <a:gd name="T91" fmla="*/ 239 h 286"/>
                <a:gd name="T92" fmla="*/ 238 w 285"/>
                <a:gd name="T93" fmla="*/ 283 h 286"/>
                <a:gd name="T94" fmla="*/ 238 w 285"/>
                <a:gd name="T95" fmla="*/ 283 h 286"/>
                <a:gd name="T96" fmla="*/ 235 w 285"/>
                <a:gd name="T97" fmla="*/ 286 h 286"/>
                <a:gd name="T98" fmla="*/ 235 w 285"/>
                <a:gd name="T99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5" h="286">
                  <a:moveTo>
                    <a:pt x="235" y="286"/>
                  </a:moveTo>
                  <a:lnTo>
                    <a:pt x="235" y="286"/>
                  </a:lnTo>
                  <a:lnTo>
                    <a:pt x="211" y="285"/>
                  </a:lnTo>
                  <a:lnTo>
                    <a:pt x="187" y="281"/>
                  </a:lnTo>
                  <a:lnTo>
                    <a:pt x="165" y="275"/>
                  </a:lnTo>
                  <a:lnTo>
                    <a:pt x="144" y="267"/>
                  </a:lnTo>
                  <a:lnTo>
                    <a:pt x="122" y="257"/>
                  </a:lnTo>
                  <a:lnTo>
                    <a:pt x="103" y="246"/>
                  </a:lnTo>
                  <a:lnTo>
                    <a:pt x="85" y="232"/>
                  </a:lnTo>
                  <a:lnTo>
                    <a:pt x="69" y="216"/>
                  </a:lnTo>
                  <a:lnTo>
                    <a:pt x="54" y="200"/>
                  </a:lnTo>
                  <a:lnTo>
                    <a:pt x="40" y="181"/>
                  </a:lnTo>
                  <a:lnTo>
                    <a:pt x="28" y="163"/>
                  </a:lnTo>
                  <a:lnTo>
                    <a:pt x="17" y="142"/>
                  </a:lnTo>
                  <a:lnTo>
                    <a:pt x="9" y="121"/>
                  </a:lnTo>
                  <a:lnTo>
                    <a:pt x="4" y="98"/>
                  </a:lnTo>
                  <a:lnTo>
                    <a:pt x="0" y="7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" y="47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9" y="3"/>
                  </a:lnTo>
                  <a:lnTo>
                    <a:pt x="120" y="63"/>
                  </a:lnTo>
                  <a:lnTo>
                    <a:pt x="120" y="63"/>
                  </a:lnTo>
                  <a:lnTo>
                    <a:pt x="121" y="66"/>
                  </a:lnTo>
                  <a:lnTo>
                    <a:pt x="122" y="70"/>
                  </a:lnTo>
                  <a:lnTo>
                    <a:pt x="121" y="74"/>
                  </a:lnTo>
                  <a:lnTo>
                    <a:pt x="120" y="77"/>
                  </a:lnTo>
                  <a:lnTo>
                    <a:pt x="78" y="118"/>
                  </a:lnTo>
                  <a:lnTo>
                    <a:pt x="168" y="207"/>
                  </a:lnTo>
                  <a:lnTo>
                    <a:pt x="208" y="165"/>
                  </a:lnTo>
                  <a:lnTo>
                    <a:pt x="208" y="165"/>
                  </a:lnTo>
                  <a:lnTo>
                    <a:pt x="212" y="164"/>
                  </a:lnTo>
                  <a:lnTo>
                    <a:pt x="215" y="163"/>
                  </a:lnTo>
                  <a:lnTo>
                    <a:pt x="219" y="164"/>
                  </a:lnTo>
                  <a:lnTo>
                    <a:pt x="222" y="165"/>
                  </a:lnTo>
                  <a:lnTo>
                    <a:pt x="282" y="226"/>
                  </a:lnTo>
                  <a:lnTo>
                    <a:pt x="282" y="226"/>
                  </a:lnTo>
                  <a:lnTo>
                    <a:pt x="285" y="230"/>
                  </a:lnTo>
                  <a:lnTo>
                    <a:pt x="285" y="232"/>
                  </a:lnTo>
                  <a:lnTo>
                    <a:pt x="285" y="236"/>
                  </a:lnTo>
                  <a:lnTo>
                    <a:pt x="282" y="239"/>
                  </a:lnTo>
                  <a:lnTo>
                    <a:pt x="238" y="283"/>
                  </a:lnTo>
                  <a:lnTo>
                    <a:pt x="238" y="283"/>
                  </a:lnTo>
                  <a:lnTo>
                    <a:pt x="235" y="286"/>
                  </a:lnTo>
                  <a:lnTo>
                    <a:pt x="235" y="2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Microsoft YaHei"/>
                <a:cs typeface="+mn-cs"/>
              </a:endParaRPr>
            </a:p>
          </p:txBody>
        </p:sp>
      </p:grpSp>
      <p:sp>
        <p:nvSpPr>
          <p:cNvPr id="55" name="object 4">
            <a:extLst>
              <a:ext uri="{FF2B5EF4-FFF2-40B4-BE49-F238E27FC236}">
                <a16:creationId xmlns:a16="http://schemas.microsoft.com/office/drawing/2014/main" id="{48866C95-036C-48FA-8935-8CB846CD60D0}"/>
              </a:ext>
            </a:extLst>
          </p:cNvPr>
          <p:cNvSpPr txBox="1">
            <a:spLocks/>
          </p:cNvSpPr>
          <p:nvPr/>
        </p:nvSpPr>
        <p:spPr>
          <a:xfrm>
            <a:off x="608158" y="3963593"/>
            <a:ext cx="2260298" cy="2110534"/>
          </a:xfrm>
          <a:prstGeom prst="rect">
            <a:avLst/>
          </a:prstGeom>
        </p:spPr>
        <p:txBody>
          <a:bodyPr vert="horz" wrap="square" lIns="91440" tIns="0" rIns="0" bIns="0" rtlCol="0" anchor="t">
            <a:noAutofit/>
          </a:bodyPr>
          <a:lstStyle/>
          <a:p>
            <a:pPr lvl="0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n-US" sz="1100" b="1" dirty="0"/>
              <a:t>Girish</a:t>
            </a:r>
            <a:r>
              <a:rPr lang="en-US" sz="1050" b="1" dirty="0"/>
              <a:t> </a:t>
            </a:r>
            <a:r>
              <a:rPr lang="en-US" sz="1050" dirty="0"/>
              <a:t>has </a:t>
            </a:r>
            <a:r>
              <a:rPr lang="en-US" sz="1050" b="1" dirty="0"/>
              <a:t>3.5+ years </a:t>
            </a:r>
            <a:r>
              <a:rPr lang="en-US" sz="1050" dirty="0"/>
              <a:t>of experience as a </a:t>
            </a:r>
            <a:r>
              <a:rPr lang="en-US" sz="1050" b="1" dirty="0"/>
              <a:t>Gen AI and Machine Learning Engineer</a:t>
            </a:r>
            <a:r>
              <a:rPr lang="en-US" sz="1050" dirty="0"/>
              <a:t>. Proficient in </a:t>
            </a:r>
            <a:r>
              <a:rPr lang="en-US" sz="1050" b="1" dirty="0"/>
              <a:t>Agentic AI (</a:t>
            </a:r>
            <a:r>
              <a:rPr lang="en-US" sz="1050" b="1" dirty="0" err="1"/>
              <a:t>LangGraph</a:t>
            </a:r>
            <a:r>
              <a:rPr lang="en-US" sz="1050" b="1" dirty="0"/>
              <a:t>, </a:t>
            </a:r>
            <a:r>
              <a:rPr lang="en-US" sz="1050" b="1" dirty="0" err="1"/>
              <a:t>LangChain</a:t>
            </a:r>
            <a:r>
              <a:rPr lang="en-US" sz="1050" b="1" dirty="0"/>
              <a:t>), Python, </a:t>
            </a:r>
            <a:r>
              <a:rPr lang="en-US" sz="1050" b="1" dirty="0" err="1"/>
              <a:t>PyTorch</a:t>
            </a:r>
            <a:r>
              <a:rPr lang="en-US" sz="1050" b="1" dirty="0"/>
              <a:t>, </a:t>
            </a:r>
            <a:r>
              <a:rPr lang="en-US" sz="1050" dirty="0"/>
              <a:t>and</a:t>
            </a:r>
            <a:r>
              <a:rPr lang="en-US" sz="1050" b="1" dirty="0"/>
              <a:t> AWS</a:t>
            </a:r>
            <a:r>
              <a:rPr lang="en-US" sz="1050" dirty="0"/>
              <a:t>. Skilled in architecting and deploying autonomous </a:t>
            </a:r>
            <a:r>
              <a:rPr lang="en-US" sz="1050" b="1" dirty="0"/>
              <a:t>AI Agents</a:t>
            </a:r>
            <a:r>
              <a:rPr lang="en-US" sz="1050" dirty="0"/>
              <a:t> and high-scale </a:t>
            </a:r>
            <a:r>
              <a:rPr lang="en-US" sz="1050" b="1" dirty="0"/>
              <a:t>RAG systems</a:t>
            </a:r>
            <a:r>
              <a:rPr lang="en-US" sz="1050" dirty="0"/>
              <a:t>, with hands-on experience in building full-stack AI applications using </a:t>
            </a:r>
            <a:r>
              <a:rPr lang="en-US" sz="1050" b="1" dirty="0" err="1"/>
              <a:t>FastAPI</a:t>
            </a:r>
            <a:r>
              <a:rPr lang="en-US" sz="1050" dirty="0"/>
              <a:t> and </a:t>
            </a:r>
            <a:r>
              <a:rPr lang="en-US" sz="1050" b="1" dirty="0" err="1"/>
              <a:t>Streamlit</a:t>
            </a:r>
            <a:r>
              <a:rPr lang="en-US" sz="1050" dirty="0"/>
              <a:t>. Proven ability to deliver high-impact solutions while leveraging deep technical expertise in </a:t>
            </a:r>
            <a:r>
              <a:rPr lang="en-US" sz="1050" b="1" dirty="0"/>
              <a:t>LLMs, Computer Vision (YOLOv8), </a:t>
            </a:r>
            <a:r>
              <a:rPr lang="en-US" sz="1050" dirty="0"/>
              <a:t>and</a:t>
            </a:r>
            <a:r>
              <a:rPr lang="en-US" sz="1050" b="1" dirty="0"/>
              <a:t> scalable </a:t>
            </a:r>
            <a:r>
              <a:rPr lang="en-US" sz="1050" b="1" dirty="0" err="1"/>
              <a:t>MLOps</a:t>
            </a:r>
            <a:r>
              <a:rPr lang="en-US" sz="1050" dirty="0"/>
              <a:t> environments.</a:t>
            </a:r>
            <a:endParaRPr lang="en-US" sz="1050" dirty="0">
              <a:solidFill>
                <a:prstClr val="black"/>
              </a:solidFill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E5C8CB5E-4F4B-43ED-B357-7D9BFD713FBE}"/>
              </a:ext>
            </a:extLst>
          </p:cNvPr>
          <p:cNvSpPr txBox="1">
            <a:spLocks/>
          </p:cNvSpPr>
          <p:nvPr/>
        </p:nvSpPr>
        <p:spPr>
          <a:xfrm>
            <a:off x="3576345" y="1511258"/>
            <a:ext cx="8102914" cy="2112440"/>
          </a:xfrm>
          <a:prstGeom prst="rect">
            <a:avLst/>
          </a:prstGeom>
        </p:spPr>
        <p:txBody>
          <a:bodyPr lIns="0" tIns="45720" rIns="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base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None/>
              <a:defRPr/>
            </a:pP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s a Gen AI Engineer, I have</a:t>
            </a:r>
            <a:endParaRPr lang="en-US" sz="1000" b="1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US" sz="1050" b="1" dirty="0"/>
              <a:t>Engineered and deployed Agentic AI workflows</a:t>
            </a:r>
            <a:r>
              <a:rPr lang="en-US" sz="1050" dirty="0"/>
              <a:t> using frameworks like </a:t>
            </a:r>
            <a:r>
              <a:rPr lang="en-US" sz="1050" b="1" dirty="0" err="1"/>
              <a:t>LangGraph</a:t>
            </a:r>
            <a:r>
              <a:rPr lang="en-US" sz="1050" b="1" dirty="0"/>
              <a:t> and </a:t>
            </a:r>
            <a:r>
              <a:rPr lang="en-US" sz="1050" b="1" dirty="0" err="1"/>
              <a:t>LangChain</a:t>
            </a:r>
            <a:r>
              <a:rPr lang="en-US" sz="1050" dirty="0"/>
              <a:t>, moving beyond static RAG to build autonomous agents capable of dynamic reasoning and tool-use</a:t>
            </a:r>
            <a:r>
              <a:rPr lang="en-US" sz="1050" dirty="0">
                <a:solidFill>
                  <a:srgbClr val="000000"/>
                </a:solidFill>
                <a:ea typeface="Open Sans"/>
                <a:cs typeface="Open Sans"/>
              </a:rPr>
              <a:t>.</a:t>
            </a:r>
          </a:p>
          <a:p>
            <a:pPr marL="171450" lvl="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IN" sz="1050" b="1" dirty="0"/>
              <a:t>Developed and optimized production-grade RAG systems</a:t>
            </a:r>
            <a:r>
              <a:rPr lang="en-IN" sz="1050" dirty="0"/>
              <a:t>, integrating vector databases (</a:t>
            </a:r>
            <a:r>
              <a:rPr lang="en-IN" sz="1050" dirty="0" err="1"/>
              <a:t>ChromaDB</a:t>
            </a:r>
            <a:r>
              <a:rPr lang="en-IN" sz="1050" dirty="0"/>
              <a:t>) and custom retrieval logic to reduce latency and improve information accuracy for enterprise-scale datasets</a:t>
            </a:r>
            <a:r>
              <a:rPr lang="en-US" sz="1050" dirty="0">
                <a:solidFill>
                  <a:srgbClr val="000000"/>
                </a:solidFill>
                <a:ea typeface="Open Sans"/>
                <a:cs typeface="Open Sans"/>
              </a:rPr>
              <a:t>. </a:t>
            </a:r>
          </a:p>
          <a:p>
            <a:pPr marL="171450" lvl="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US" sz="1050" b="1" dirty="0"/>
              <a:t>Architected and fine-tuned LLMs and Vision Language Models (VLM)</a:t>
            </a:r>
            <a:r>
              <a:rPr lang="en-US" sz="1050" dirty="0"/>
              <a:t>, including training a Transformer model from scratch using </a:t>
            </a:r>
            <a:r>
              <a:rPr lang="en-US" sz="1050" dirty="0" err="1"/>
              <a:t>PyTorch</a:t>
            </a:r>
            <a:r>
              <a:rPr lang="en-US" sz="1050" dirty="0"/>
              <a:t> and implementing </a:t>
            </a:r>
            <a:r>
              <a:rPr lang="en-US" sz="1050" dirty="0" err="1"/>
              <a:t>LoRA</a:t>
            </a:r>
            <a:r>
              <a:rPr lang="en-US" sz="1050" dirty="0"/>
              <a:t> fine-tuning for specialized domain tasks</a:t>
            </a:r>
            <a:r>
              <a:rPr lang="en-US" sz="1050" dirty="0">
                <a:solidFill>
                  <a:srgbClr val="000000"/>
                </a:solidFill>
                <a:ea typeface="Open Sans"/>
                <a:cs typeface="Open Sans"/>
              </a:rPr>
              <a:t>.</a:t>
            </a:r>
          </a:p>
          <a:p>
            <a:pPr marL="171450" lvl="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US" sz="1050" b="1" dirty="0"/>
              <a:t>Designed scalable AI orchestration layers</a:t>
            </a:r>
            <a:r>
              <a:rPr lang="en-US" sz="1050" dirty="0"/>
              <a:t> using </a:t>
            </a:r>
            <a:r>
              <a:rPr lang="en-US" sz="1050" dirty="0" err="1"/>
              <a:t>FastAPI</a:t>
            </a:r>
            <a:r>
              <a:rPr lang="en-US" sz="1050" dirty="0"/>
              <a:t> and asynchronous processing to handle high-concurrency environments</a:t>
            </a:r>
            <a:r>
              <a:rPr lang="en-US" sz="1050" dirty="0">
                <a:solidFill>
                  <a:srgbClr val="000000"/>
                </a:solidFill>
                <a:ea typeface="Open Sans"/>
                <a:cs typeface="Open Sans"/>
              </a:rPr>
              <a:t>.</a:t>
            </a:r>
          </a:p>
          <a:p>
            <a:pPr marL="171450" lvl="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US" sz="1050" b="1" dirty="0"/>
              <a:t>Implemented advanced Prompt Engineering and Guardrail strategies</a:t>
            </a:r>
            <a:r>
              <a:rPr lang="en-US" sz="1050" dirty="0"/>
              <a:t> to ensure healthcare and financial compliance, automating document digitization and reducing manual inventory tracking by 58%.</a:t>
            </a:r>
            <a:r>
              <a:rPr lang="en-US" sz="1050" dirty="0">
                <a:solidFill>
                  <a:srgbClr val="000000"/>
                </a:solidFill>
                <a:ea typeface="Open Sans"/>
                <a:cs typeface="Open Sans"/>
              </a:rPr>
              <a:t>.</a:t>
            </a:r>
          </a:p>
          <a:p>
            <a:pPr marL="171450" lvl="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US" sz="1050" b="1" dirty="0">
                <a:solidFill>
                  <a:srgbClr val="000000"/>
                </a:solidFill>
                <a:ea typeface="Open Sans"/>
                <a:cs typeface="Open Sans"/>
              </a:rPr>
              <a:t>I</a:t>
            </a:r>
            <a:r>
              <a:rPr lang="en-US" sz="1050" b="1" dirty="0"/>
              <a:t>ntegrated diverse AI stacks and ecosystems</a:t>
            </a:r>
            <a:r>
              <a:rPr lang="en-US" sz="1050" dirty="0"/>
              <a:t>, leveraging tools like </a:t>
            </a:r>
            <a:r>
              <a:rPr lang="en-US" sz="1050" b="1" dirty="0" err="1"/>
              <a:t>Ollama</a:t>
            </a:r>
            <a:r>
              <a:rPr lang="en-US" sz="1050" b="1" dirty="0"/>
              <a:t>, </a:t>
            </a:r>
            <a:r>
              <a:rPr lang="en-US" sz="1050" b="1" dirty="0" err="1"/>
              <a:t>Groq</a:t>
            </a:r>
            <a:r>
              <a:rPr lang="en-US" sz="1050" b="1" dirty="0"/>
              <a:t>, and N8N</a:t>
            </a:r>
            <a:r>
              <a:rPr lang="en-US" sz="1050" dirty="0"/>
              <a:t> to bridge the gap between experimental</a:t>
            </a:r>
            <a:endParaRPr kumimoji="0" lang="en-US" sz="1050" b="0" i="0" u="none" strike="noStrike" kern="1200" cap="none" spc="-3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ADBB5CA3-5B28-4657-8EC9-DEE48B48985E}"/>
              </a:ext>
            </a:extLst>
          </p:cNvPr>
          <p:cNvSpPr txBox="1">
            <a:spLocks/>
          </p:cNvSpPr>
          <p:nvPr/>
        </p:nvSpPr>
        <p:spPr>
          <a:xfrm>
            <a:off x="3576347" y="4011457"/>
            <a:ext cx="8102912" cy="1106719"/>
          </a:xfrm>
          <a:prstGeom prst="rect">
            <a:avLst/>
          </a:prstGeom>
        </p:spPr>
        <p:txBody>
          <a:bodyPr lIns="0" tIns="45720" rIns="0" bIns="4572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IN" sz="1050" b="1" dirty="0"/>
              <a:t>Languages &amp; AI Core</a:t>
            </a:r>
            <a:r>
              <a:rPr lang="en-US" sz="1050" dirty="0">
                <a:solidFill>
                  <a:srgbClr val="000000"/>
                </a:solidFill>
                <a:latin typeface="Calibri Light"/>
                <a:ea typeface="Calibri Light"/>
                <a:cs typeface="Calibri Light"/>
              </a:rPr>
              <a:t>	: </a:t>
            </a:r>
            <a:r>
              <a:rPr lang="en-IN" sz="1050" dirty="0"/>
              <a:t>Python, SQL, LLMs (OpenAI, Anthropic, </a:t>
            </a:r>
            <a:r>
              <a:rPr lang="en-IN" sz="1050" dirty="0" err="1"/>
              <a:t>Ollama</a:t>
            </a:r>
            <a:r>
              <a:rPr lang="en-IN" sz="1050" dirty="0"/>
              <a:t>), Deep Learning, NLP</a:t>
            </a:r>
            <a:endParaRPr lang="en-US" sz="1050" b="1" dirty="0">
              <a:solidFill>
                <a:srgbClr val="000000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5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IN" sz="1050" b="1" dirty="0"/>
              <a:t>Frameworks &amp; AI Orchestration</a:t>
            </a:r>
            <a:r>
              <a:rPr lang="en-US" sz="1050" b="1" dirty="0">
                <a:solidFill>
                  <a:srgbClr val="00000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	: </a:t>
            </a:r>
            <a:r>
              <a:rPr lang="en-IN" sz="1050" dirty="0" err="1"/>
              <a:t>LangGraph</a:t>
            </a:r>
            <a:r>
              <a:rPr lang="en-IN" sz="1050" dirty="0"/>
              <a:t>, </a:t>
            </a:r>
            <a:r>
              <a:rPr lang="en-IN" sz="1050" dirty="0" err="1"/>
              <a:t>LangChain</a:t>
            </a:r>
            <a:r>
              <a:rPr lang="en-IN" sz="1050" dirty="0"/>
              <a:t>, </a:t>
            </a:r>
            <a:r>
              <a:rPr lang="en-IN" sz="1050" dirty="0" err="1"/>
              <a:t>FastAPI</a:t>
            </a:r>
            <a:r>
              <a:rPr lang="en-IN" sz="1050" dirty="0"/>
              <a:t>, </a:t>
            </a:r>
            <a:r>
              <a:rPr lang="en-IN" sz="1050" dirty="0" err="1"/>
              <a:t>PyTorch</a:t>
            </a:r>
            <a:r>
              <a:rPr lang="en-IN" sz="1050" dirty="0"/>
              <a:t>, NumPy, Scikit-learn, </a:t>
            </a:r>
            <a:r>
              <a:rPr lang="en-IN" sz="1050" dirty="0" err="1"/>
              <a:t>Keras</a:t>
            </a:r>
            <a:r>
              <a:rPr lang="en-IN" sz="1050" dirty="0"/>
              <a:t>, Pandas, Matplotlib, </a:t>
            </a:r>
            <a:r>
              <a:rPr lang="en-IN" sz="1050" dirty="0" err="1"/>
              <a:t>HuggingFace</a:t>
            </a:r>
            <a:r>
              <a:rPr lang="en-IN" sz="1050" dirty="0"/>
              <a:t>, </a:t>
            </a:r>
            <a:r>
              <a:rPr lang="en-IN" sz="1050" dirty="0" err="1"/>
              <a:t>Streamlit</a:t>
            </a:r>
            <a:endParaRPr lang="en-US" sz="1050" dirty="0">
              <a:solidFill>
                <a:srgbClr val="000000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5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IN" sz="1050" b="1" dirty="0"/>
              <a:t>Database &amp; Data</a:t>
            </a:r>
            <a:r>
              <a:rPr lang="en-US" sz="1050" dirty="0">
                <a:solidFill>
                  <a:srgbClr val="00000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	 : </a:t>
            </a:r>
            <a:r>
              <a:rPr lang="en-IN" sz="1050" dirty="0"/>
              <a:t>PostgreSQL, </a:t>
            </a:r>
            <a:r>
              <a:rPr lang="en-IN" sz="1050" dirty="0" err="1"/>
              <a:t>DataBricks</a:t>
            </a:r>
            <a:r>
              <a:rPr lang="en-IN" sz="1050" dirty="0"/>
              <a:t>, RDBMS, ETL</a:t>
            </a:r>
            <a:endParaRPr lang="en-US" sz="1050" dirty="0">
              <a:solidFill>
                <a:srgbClr val="000000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5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IN" sz="1050" b="1" dirty="0"/>
              <a:t>DevOps &amp; Infrastructure</a:t>
            </a:r>
            <a:r>
              <a:rPr lang="en-US" sz="1050" b="1" dirty="0">
                <a:solidFill>
                  <a:srgbClr val="00000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        </a:t>
            </a:r>
            <a:r>
              <a:rPr lang="en-US" sz="1050" dirty="0">
                <a:solidFill>
                  <a:srgbClr val="00000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	: AWS, Docker, K8ns, CI/CD</a:t>
            </a:r>
          </a:p>
          <a:p>
            <a:pPr marL="171450" indent="-171450"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Font typeface="Arial" charset="0"/>
              <a:buChar char="•"/>
              <a:defRPr/>
            </a:pPr>
            <a:r>
              <a:rPr lang="en-IN" sz="1050" b="1" dirty="0"/>
              <a:t>Tools &amp; Collaboration</a:t>
            </a:r>
            <a:r>
              <a:rPr lang="en-US" sz="1050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	:</a:t>
            </a:r>
            <a:r>
              <a:rPr lang="en-IN" sz="1050" dirty="0"/>
              <a:t>N8N, MCP, </a:t>
            </a:r>
            <a:r>
              <a:rPr lang="en-IN" sz="1050" dirty="0" err="1"/>
              <a:t>MLFlow</a:t>
            </a:r>
            <a:r>
              <a:rPr lang="en-IN" sz="1050" dirty="0"/>
              <a:t>, Git, Linux, VS Code</a:t>
            </a:r>
            <a:endParaRPr lang="en-US" sz="1050" dirty="0">
              <a:solidFill>
                <a:srgbClr val="000000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F5059AEB-36BA-4F8B-B7E3-056B9BE8D8F1}"/>
              </a:ext>
            </a:extLst>
          </p:cNvPr>
          <p:cNvSpPr txBox="1">
            <a:spLocks/>
          </p:cNvSpPr>
          <p:nvPr/>
        </p:nvSpPr>
        <p:spPr>
          <a:xfrm>
            <a:off x="3576345" y="5556772"/>
            <a:ext cx="8102914" cy="321014"/>
          </a:xfrm>
          <a:prstGeom prst="rect">
            <a:avLst/>
          </a:prstGeom>
        </p:spPr>
        <p:txBody>
          <a:bodyPr lIns="0" r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>
                <a:srgbClr val="787878"/>
              </a:buClr>
              <a:buSzPct val="75000"/>
              <a:buFont typeface="Arial" charset="0"/>
              <a:buChar char="•"/>
              <a:tabLst/>
              <a:defRPr/>
            </a:pPr>
            <a:r>
              <a:rPr kumimoji="0" lang="en-US" sz="1050" b="1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SYMBIOSIS SKILLS AND PROFESSIONAL UNIVERSITY, India</a:t>
            </a:r>
            <a:r>
              <a:rPr kumimoji="0" lang="en-US" sz="105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kumimoji="0" lang="en-US" sz="105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Open Sans"/>
                <a:cs typeface="Open Sans"/>
              </a:rPr>
              <a:t>Bachelor of Technology : Mechatronics</a:t>
            </a:r>
          </a:p>
        </p:txBody>
      </p:sp>
      <p:sp>
        <p:nvSpPr>
          <p:cNvPr id="4" name="Flowchart: Connector 21">
            <a:extLst>
              <a:ext uri="{FF2B5EF4-FFF2-40B4-BE49-F238E27FC236}">
                <a16:creationId xmlns:a16="http://schemas.microsoft.com/office/drawing/2014/main" id="{57982474-0725-C880-28D3-724CE0B6BA74}"/>
              </a:ext>
            </a:extLst>
          </p:cNvPr>
          <p:cNvSpPr/>
          <p:nvPr/>
        </p:nvSpPr>
        <p:spPr>
          <a:xfrm>
            <a:off x="3258734" y="5344552"/>
            <a:ext cx="137160" cy="137160"/>
          </a:xfrm>
          <a:prstGeom prst="flowChartConnector">
            <a:avLst/>
          </a:prstGeom>
          <a:solidFill>
            <a:schemeClr val="bg1"/>
          </a:solidFill>
          <a:ln w="28575">
            <a:solidFill>
              <a:srgbClr val="C0E1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Microsoft YaHei"/>
              <a:cs typeface="+mn-cs"/>
            </a:endParaRPr>
          </a:p>
        </p:txBody>
      </p:sp>
      <p:sp>
        <p:nvSpPr>
          <p:cNvPr id="8" name="Text Placeholder 44">
            <a:extLst>
              <a:ext uri="{FF2B5EF4-FFF2-40B4-BE49-F238E27FC236}">
                <a16:creationId xmlns:a16="http://schemas.microsoft.com/office/drawing/2014/main" id="{792F76BC-686A-60E9-4175-7697A886EE1B}"/>
              </a:ext>
            </a:extLst>
          </p:cNvPr>
          <p:cNvSpPr txBox="1">
            <a:spLocks/>
          </p:cNvSpPr>
          <p:nvPr/>
        </p:nvSpPr>
        <p:spPr>
          <a:xfrm>
            <a:off x="991533" y="3340248"/>
            <a:ext cx="2035097" cy="198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5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gsateeshnaik@deloitte.com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5DE513A-9EFD-6D7C-5D57-6EE34268AF2A}"/>
              </a:ext>
            </a:extLst>
          </p:cNvPr>
          <p:cNvGrpSpPr>
            <a:grpSpLocks noChangeAspect="1"/>
          </p:cNvGrpSpPr>
          <p:nvPr/>
        </p:nvGrpSpPr>
        <p:grpSpPr>
          <a:xfrm>
            <a:off x="704322" y="3322940"/>
            <a:ext cx="279127" cy="278278"/>
            <a:chOff x="3198813" y="836613"/>
            <a:chExt cx="522288" cy="520700"/>
          </a:xfrm>
          <a:solidFill>
            <a:schemeClr val="bg1">
              <a:lumMod val="50000"/>
            </a:schemeClr>
          </a:solidFill>
        </p:grpSpPr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B45FC184-0C0F-229A-8C5F-33EC72FDC1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8813" y="836613"/>
              <a:ext cx="522288" cy="520700"/>
            </a:xfrm>
            <a:custGeom>
              <a:avLst/>
              <a:gdLst>
                <a:gd name="T0" fmla="*/ 311 w 657"/>
                <a:gd name="T1" fmla="*/ 657 h 657"/>
                <a:gd name="T2" fmla="*/ 263 w 657"/>
                <a:gd name="T3" fmla="*/ 650 h 657"/>
                <a:gd name="T4" fmla="*/ 201 w 657"/>
                <a:gd name="T5" fmla="*/ 632 h 657"/>
                <a:gd name="T6" fmla="*/ 119 w 657"/>
                <a:gd name="T7" fmla="*/ 582 h 657"/>
                <a:gd name="T8" fmla="*/ 56 w 657"/>
                <a:gd name="T9" fmla="*/ 512 h 657"/>
                <a:gd name="T10" fmla="*/ 14 w 657"/>
                <a:gd name="T11" fmla="*/ 426 h 657"/>
                <a:gd name="T12" fmla="*/ 4 w 657"/>
                <a:gd name="T13" fmla="*/ 379 h 657"/>
                <a:gd name="T14" fmla="*/ 0 w 657"/>
                <a:gd name="T15" fmla="*/ 328 h 657"/>
                <a:gd name="T16" fmla="*/ 1 w 657"/>
                <a:gd name="T17" fmla="*/ 295 h 657"/>
                <a:gd name="T18" fmla="*/ 10 w 657"/>
                <a:gd name="T19" fmla="*/ 246 h 657"/>
                <a:gd name="T20" fmla="*/ 40 w 657"/>
                <a:gd name="T21" fmla="*/ 172 h 657"/>
                <a:gd name="T22" fmla="*/ 96 w 657"/>
                <a:gd name="T23" fmla="*/ 96 h 657"/>
                <a:gd name="T24" fmla="*/ 171 w 657"/>
                <a:gd name="T25" fmla="*/ 39 h 657"/>
                <a:gd name="T26" fmla="*/ 247 w 657"/>
                <a:gd name="T27" fmla="*/ 10 h 657"/>
                <a:gd name="T28" fmla="*/ 295 w 657"/>
                <a:gd name="T29" fmla="*/ 2 h 657"/>
                <a:gd name="T30" fmla="*/ 329 w 657"/>
                <a:gd name="T31" fmla="*/ 0 h 657"/>
                <a:gd name="T32" fmla="*/ 378 w 657"/>
                <a:gd name="T33" fmla="*/ 3 h 657"/>
                <a:gd name="T34" fmla="*/ 427 w 657"/>
                <a:gd name="T35" fmla="*/ 15 h 657"/>
                <a:gd name="T36" fmla="*/ 512 w 657"/>
                <a:gd name="T37" fmla="*/ 56 h 657"/>
                <a:gd name="T38" fmla="*/ 582 w 657"/>
                <a:gd name="T39" fmla="*/ 120 h 657"/>
                <a:gd name="T40" fmla="*/ 631 w 657"/>
                <a:gd name="T41" fmla="*/ 201 h 657"/>
                <a:gd name="T42" fmla="*/ 651 w 657"/>
                <a:gd name="T43" fmla="*/ 262 h 657"/>
                <a:gd name="T44" fmla="*/ 656 w 657"/>
                <a:gd name="T45" fmla="*/ 312 h 657"/>
                <a:gd name="T46" fmla="*/ 656 w 657"/>
                <a:gd name="T47" fmla="*/ 346 h 657"/>
                <a:gd name="T48" fmla="*/ 651 w 657"/>
                <a:gd name="T49" fmla="*/ 395 h 657"/>
                <a:gd name="T50" fmla="*/ 631 w 657"/>
                <a:gd name="T51" fmla="*/ 457 h 657"/>
                <a:gd name="T52" fmla="*/ 582 w 657"/>
                <a:gd name="T53" fmla="*/ 538 h 657"/>
                <a:gd name="T54" fmla="*/ 512 w 657"/>
                <a:gd name="T55" fmla="*/ 601 h 657"/>
                <a:gd name="T56" fmla="*/ 427 w 657"/>
                <a:gd name="T57" fmla="*/ 642 h 657"/>
                <a:gd name="T58" fmla="*/ 378 w 657"/>
                <a:gd name="T59" fmla="*/ 653 h 657"/>
                <a:gd name="T60" fmla="*/ 329 w 657"/>
                <a:gd name="T61" fmla="*/ 657 h 657"/>
                <a:gd name="T62" fmla="*/ 329 w 657"/>
                <a:gd name="T63" fmla="*/ 38 h 657"/>
                <a:gd name="T64" fmla="*/ 243 w 657"/>
                <a:gd name="T65" fmla="*/ 50 h 657"/>
                <a:gd name="T66" fmla="*/ 166 w 657"/>
                <a:gd name="T67" fmla="*/ 88 h 657"/>
                <a:gd name="T68" fmla="*/ 104 w 657"/>
                <a:gd name="T69" fmla="*/ 144 h 657"/>
                <a:gd name="T70" fmla="*/ 60 w 657"/>
                <a:gd name="T71" fmla="*/ 215 h 657"/>
                <a:gd name="T72" fmla="*/ 39 w 657"/>
                <a:gd name="T73" fmla="*/ 299 h 657"/>
                <a:gd name="T74" fmla="*/ 39 w 657"/>
                <a:gd name="T75" fmla="*/ 358 h 657"/>
                <a:gd name="T76" fmla="*/ 60 w 657"/>
                <a:gd name="T77" fmla="*/ 442 h 657"/>
                <a:gd name="T78" fmla="*/ 104 w 657"/>
                <a:gd name="T79" fmla="*/ 513 h 657"/>
                <a:gd name="T80" fmla="*/ 166 w 657"/>
                <a:gd name="T81" fmla="*/ 570 h 657"/>
                <a:gd name="T82" fmla="*/ 243 w 657"/>
                <a:gd name="T83" fmla="*/ 606 h 657"/>
                <a:gd name="T84" fmla="*/ 329 w 657"/>
                <a:gd name="T85" fmla="*/ 620 h 657"/>
                <a:gd name="T86" fmla="*/ 388 w 657"/>
                <a:gd name="T87" fmla="*/ 614 h 657"/>
                <a:gd name="T88" fmla="*/ 467 w 657"/>
                <a:gd name="T89" fmla="*/ 585 h 657"/>
                <a:gd name="T90" fmla="*/ 534 w 657"/>
                <a:gd name="T91" fmla="*/ 535 h 657"/>
                <a:gd name="T92" fmla="*/ 584 w 657"/>
                <a:gd name="T93" fmla="*/ 468 h 657"/>
                <a:gd name="T94" fmla="*/ 613 w 657"/>
                <a:gd name="T95" fmla="*/ 387 h 657"/>
                <a:gd name="T96" fmla="*/ 620 w 657"/>
                <a:gd name="T97" fmla="*/ 328 h 657"/>
                <a:gd name="T98" fmla="*/ 606 w 657"/>
                <a:gd name="T99" fmla="*/ 242 h 657"/>
                <a:gd name="T100" fmla="*/ 570 w 657"/>
                <a:gd name="T101" fmla="*/ 166 h 657"/>
                <a:gd name="T102" fmla="*/ 514 w 657"/>
                <a:gd name="T103" fmla="*/ 104 h 657"/>
                <a:gd name="T104" fmla="*/ 441 w 657"/>
                <a:gd name="T105" fmla="*/ 61 h 657"/>
                <a:gd name="T106" fmla="*/ 358 w 657"/>
                <a:gd name="T107" fmla="*/ 39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7">
                  <a:moveTo>
                    <a:pt x="329" y="657"/>
                  </a:moveTo>
                  <a:lnTo>
                    <a:pt x="329" y="657"/>
                  </a:lnTo>
                  <a:lnTo>
                    <a:pt x="311" y="657"/>
                  </a:lnTo>
                  <a:lnTo>
                    <a:pt x="295" y="656"/>
                  </a:lnTo>
                  <a:lnTo>
                    <a:pt x="279" y="653"/>
                  </a:lnTo>
                  <a:lnTo>
                    <a:pt x="263" y="650"/>
                  </a:lnTo>
                  <a:lnTo>
                    <a:pt x="247" y="646"/>
                  </a:lnTo>
                  <a:lnTo>
                    <a:pt x="231" y="642"/>
                  </a:lnTo>
                  <a:lnTo>
                    <a:pt x="201" y="632"/>
                  </a:lnTo>
                  <a:lnTo>
                    <a:pt x="171" y="617"/>
                  </a:lnTo>
                  <a:lnTo>
                    <a:pt x="145" y="601"/>
                  </a:lnTo>
                  <a:lnTo>
                    <a:pt x="119" y="582"/>
                  </a:lnTo>
                  <a:lnTo>
                    <a:pt x="96" y="560"/>
                  </a:lnTo>
                  <a:lnTo>
                    <a:pt x="75" y="538"/>
                  </a:lnTo>
                  <a:lnTo>
                    <a:pt x="56" y="512"/>
                  </a:lnTo>
                  <a:lnTo>
                    <a:pt x="40" y="485"/>
                  </a:lnTo>
                  <a:lnTo>
                    <a:pt x="25" y="457"/>
                  </a:lnTo>
                  <a:lnTo>
                    <a:pt x="14" y="426"/>
                  </a:lnTo>
                  <a:lnTo>
                    <a:pt x="10" y="410"/>
                  </a:lnTo>
                  <a:lnTo>
                    <a:pt x="6" y="395"/>
                  </a:lnTo>
                  <a:lnTo>
                    <a:pt x="4" y="379"/>
                  </a:lnTo>
                  <a:lnTo>
                    <a:pt x="1" y="362"/>
                  </a:lnTo>
                  <a:lnTo>
                    <a:pt x="0" y="346"/>
                  </a:lnTo>
                  <a:lnTo>
                    <a:pt x="0" y="328"/>
                  </a:lnTo>
                  <a:lnTo>
                    <a:pt x="0" y="328"/>
                  </a:lnTo>
                  <a:lnTo>
                    <a:pt x="0" y="312"/>
                  </a:lnTo>
                  <a:lnTo>
                    <a:pt x="1" y="295"/>
                  </a:lnTo>
                  <a:lnTo>
                    <a:pt x="4" y="278"/>
                  </a:lnTo>
                  <a:lnTo>
                    <a:pt x="6" y="262"/>
                  </a:lnTo>
                  <a:lnTo>
                    <a:pt x="10" y="246"/>
                  </a:lnTo>
                  <a:lnTo>
                    <a:pt x="14" y="231"/>
                  </a:lnTo>
                  <a:lnTo>
                    <a:pt x="25" y="201"/>
                  </a:lnTo>
                  <a:lnTo>
                    <a:pt x="40" y="172"/>
                  </a:lnTo>
                  <a:lnTo>
                    <a:pt x="56" y="145"/>
                  </a:lnTo>
                  <a:lnTo>
                    <a:pt x="75" y="120"/>
                  </a:lnTo>
                  <a:lnTo>
                    <a:pt x="96" y="96"/>
                  </a:lnTo>
                  <a:lnTo>
                    <a:pt x="119" y="76"/>
                  </a:lnTo>
                  <a:lnTo>
                    <a:pt x="145" y="56"/>
                  </a:lnTo>
                  <a:lnTo>
                    <a:pt x="171" y="39"/>
                  </a:lnTo>
                  <a:lnTo>
                    <a:pt x="201" y="26"/>
                  </a:lnTo>
                  <a:lnTo>
                    <a:pt x="231" y="15"/>
                  </a:lnTo>
                  <a:lnTo>
                    <a:pt x="247" y="10"/>
                  </a:lnTo>
                  <a:lnTo>
                    <a:pt x="263" y="7"/>
                  </a:lnTo>
                  <a:lnTo>
                    <a:pt x="279" y="3"/>
                  </a:lnTo>
                  <a:lnTo>
                    <a:pt x="295" y="2"/>
                  </a:lnTo>
                  <a:lnTo>
                    <a:pt x="311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0"/>
                  </a:lnTo>
                  <a:lnTo>
                    <a:pt x="362" y="2"/>
                  </a:lnTo>
                  <a:lnTo>
                    <a:pt x="378" y="3"/>
                  </a:lnTo>
                  <a:lnTo>
                    <a:pt x="394" y="7"/>
                  </a:lnTo>
                  <a:lnTo>
                    <a:pt x="410" y="10"/>
                  </a:lnTo>
                  <a:lnTo>
                    <a:pt x="427" y="15"/>
                  </a:lnTo>
                  <a:lnTo>
                    <a:pt x="456" y="26"/>
                  </a:lnTo>
                  <a:lnTo>
                    <a:pt x="484" y="39"/>
                  </a:lnTo>
                  <a:lnTo>
                    <a:pt x="512" y="56"/>
                  </a:lnTo>
                  <a:lnTo>
                    <a:pt x="538" y="76"/>
                  </a:lnTo>
                  <a:lnTo>
                    <a:pt x="561" y="96"/>
                  </a:lnTo>
                  <a:lnTo>
                    <a:pt x="582" y="120"/>
                  </a:lnTo>
                  <a:lnTo>
                    <a:pt x="601" y="145"/>
                  </a:lnTo>
                  <a:lnTo>
                    <a:pt x="617" y="172"/>
                  </a:lnTo>
                  <a:lnTo>
                    <a:pt x="631" y="201"/>
                  </a:lnTo>
                  <a:lnTo>
                    <a:pt x="643" y="231"/>
                  </a:lnTo>
                  <a:lnTo>
                    <a:pt x="647" y="246"/>
                  </a:lnTo>
                  <a:lnTo>
                    <a:pt x="651" y="262"/>
                  </a:lnTo>
                  <a:lnTo>
                    <a:pt x="653" y="278"/>
                  </a:lnTo>
                  <a:lnTo>
                    <a:pt x="655" y="295"/>
                  </a:lnTo>
                  <a:lnTo>
                    <a:pt x="656" y="312"/>
                  </a:lnTo>
                  <a:lnTo>
                    <a:pt x="657" y="328"/>
                  </a:lnTo>
                  <a:lnTo>
                    <a:pt x="657" y="328"/>
                  </a:lnTo>
                  <a:lnTo>
                    <a:pt x="656" y="346"/>
                  </a:lnTo>
                  <a:lnTo>
                    <a:pt x="655" y="362"/>
                  </a:lnTo>
                  <a:lnTo>
                    <a:pt x="653" y="379"/>
                  </a:lnTo>
                  <a:lnTo>
                    <a:pt x="651" y="395"/>
                  </a:lnTo>
                  <a:lnTo>
                    <a:pt x="647" y="410"/>
                  </a:lnTo>
                  <a:lnTo>
                    <a:pt x="643" y="426"/>
                  </a:lnTo>
                  <a:lnTo>
                    <a:pt x="631" y="457"/>
                  </a:lnTo>
                  <a:lnTo>
                    <a:pt x="617" y="485"/>
                  </a:lnTo>
                  <a:lnTo>
                    <a:pt x="601" y="512"/>
                  </a:lnTo>
                  <a:lnTo>
                    <a:pt x="582" y="538"/>
                  </a:lnTo>
                  <a:lnTo>
                    <a:pt x="561" y="560"/>
                  </a:lnTo>
                  <a:lnTo>
                    <a:pt x="538" y="582"/>
                  </a:lnTo>
                  <a:lnTo>
                    <a:pt x="512" y="601"/>
                  </a:lnTo>
                  <a:lnTo>
                    <a:pt x="484" y="617"/>
                  </a:lnTo>
                  <a:lnTo>
                    <a:pt x="456" y="632"/>
                  </a:lnTo>
                  <a:lnTo>
                    <a:pt x="427" y="642"/>
                  </a:lnTo>
                  <a:lnTo>
                    <a:pt x="410" y="646"/>
                  </a:lnTo>
                  <a:lnTo>
                    <a:pt x="394" y="650"/>
                  </a:lnTo>
                  <a:lnTo>
                    <a:pt x="378" y="653"/>
                  </a:lnTo>
                  <a:lnTo>
                    <a:pt x="362" y="656"/>
                  </a:lnTo>
                  <a:lnTo>
                    <a:pt x="345" y="657"/>
                  </a:lnTo>
                  <a:lnTo>
                    <a:pt x="329" y="657"/>
                  </a:lnTo>
                  <a:lnTo>
                    <a:pt x="329" y="657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299" y="39"/>
                  </a:lnTo>
                  <a:lnTo>
                    <a:pt x="269" y="43"/>
                  </a:lnTo>
                  <a:lnTo>
                    <a:pt x="243" y="50"/>
                  </a:lnTo>
                  <a:lnTo>
                    <a:pt x="216" y="61"/>
                  </a:lnTo>
                  <a:lnTo>
                    <a:pt x="190" y="73"/>
                  </a:lnTo>
                  <a:lnTo>
                    <a:pt x="166" y="88"/>
                  </a:lnTo>
                  <a:lnTo>
                    <a:pt x="143" y="104"/>
                  </a:lnTo>
                  <a:lnTo>
                    <a:pt x="123" y="123"/>
                  </a:lnTo>
                  <a:lnTo>
                    <a:pt x="104" y="144"/>
                  </a:lnTo>
                  <a:lnTo>
                    <a:pt x="87" y="166"/>
                  </a:lnTo>
                  <a:lnTo>
                    <a:pt x="72" y="190"/>
                  </a:lnTo>
                  <a:lnTo>
                    <a:pt x="60" y="215"/>
                  </a:lnTo>
                  <a:lnTo>
                    <a:pt x="51" y="242"/>
                  </a:lnTo>
                  <a:lnTo>
                    <a:pt x="44" y="270"/>
                  </a:lnTo>
                  <a:lnTo>
                    <a:pt x="39" y="299"/>
                  </a:lnTo>
                  <a:lnTo>
                    <a:pt x="37" y="328"/>
                  </a:lnTo>
                  <a:lnTo>
                    <a:pt x="37" y="328"/>
                  </a:lnTo>
                  <a:lnTo>
                    <a:pt x="39" y="358"/>
                  </a:lnTo>
                  <a:lnTo>
                    <a:pt x="44" y="387"/>
                  </a:lnTo>
                  <a:lnTo>
                    <a:pt x="51" y="415"/>
                  </a:lnTo>
                  <a:lnTo>
                    <a:pt x="60" y="442"/>
                  </a:lnTo>
                  <a:lnTo>
                    <a:pt x="72" y="468"/>
                  </a:lnTo>
                  <a:lnTo>
                    <a:pt x="87" y="491"/>
                  </a:lnTo>
                  <a:lnTo>
                    <a:pt x="104" y="513"/>
                  </a:lnTo>
                  <a:lnTo>
                    <a:pt x="123" y="535"/>
                  </a:lnTo>
                  <a:lnTo>
                    <a:pt x="143" y="554"/>
                  </a:lnTo>
                  <a:lnTo>
                    <a:pt x="166" y="570"/>
                  </a:lnTo>
                  <a:lnTo>
                    <a:pt x="190" y="585"/>
                  </a:lnTo>
                  <a:lnTo>
                    <a:pt x="216" y="597"/>
                  </a:lnTo>
                  <a:lnTo>
                    <a:pt x="243" y="606"/>
                  </a:lnTo>
                  <a:lnTo>
                    <a:pt x="269" y="614"/>
                  </a:lnTo>
                  <a:lnTo>
                    <a:pt x="299" y="618"/>
                  </a:lnTo>
                  <a:lnTo>
                    <a:pt x="329" y="620"/>
                  </a:lnTo>
                  <a:lnTo>
                    <a:pt x="329" y="620"/>
                  </a:lnTo>
                  <a:lnTo>
                    <a:pt x="358" y="618"/>
                  </a:lnTo>
                  <a:lnTo>
                    <a:pt x="388" y="614"/>
                  </a:lnTo>
                  <a:lnTo>
                    <a:pt x="414" y="606"/>
                  </a:lnTo>
                  <a:lnTo>
                    <a:pt x="441" y="597"/>
                  </a:lnTo>
                  <a:lnTo>
                    <a:pt x="467" y="585"/>
                  </a:lnTo>
                  <a:lnTo>
                    <a:pt x="491" y="570"/>
                  </a:lnTo>
                  <a:lnTo>
                    <a:pt x="514" y="554"/>
                  </a:lnTo>
                  <a:lnTo>
                    <a:pt x="534" y="535"/>
                  </a:lnTo>
                  <a:lnTo>
                    <a:pt x="553" y="513"/>
                  </a:lnTo>
                  <a:lnTo>
                    <a:pt x="570" y="491"/>
                  </a:lnTo>
                  <a:lnTo>
                    <a:pt x="584" y="468"/>
                  </a:lnTo>
                  <a:lnTo>
                    <a:pt x="597" y="442"/>
                  </a:lnTo>
                  <a:lnTo>
                    <a:pt x="606" y="415"/>
                  </a:lnTo>
                  <a:lnTo>
                    <a:pt x="613" y="387"/>
                  </a:lnTo>
                  <a:lnTo>
                    <a:pt x="619" y="358"/>
                  </a:lnTo>
                  <a:lnTo>
                    <a:pt x="620" y="328"/>
                  </a:lnTo>
                  <a:lnTo>
                    <a:pt x="620" y="328"/>
                  </a:lnTo>
                  <a:lnTo>
                    <a:pt x="619" y="299"/>
                  </a:lnTo>
                  <a:lnTo>
                    <a:pt x="613" y="270"/>
                  </a:lnTo>
                  <a:lnTo>
                    <a:pt x="606" y="242"/>
                  </a:lnTo>
                  <a:lnTo>
                    <a:pt x="597" y="215"/>
                  </a:lnTo>
                  <a:lnTo>
                    <a:pt x="584" y="190"/>
                  </a:lnTo>
                  <a:lnTo>
                    <a:pt x="570" y="166"/>
                  </a:lnTo>
                  <a:lnTo>
                    <a:pt x="553" y="144"/>
                  </a:lnTo>
                  <a:lnTo>
                    <a:pt x="534" y="123"/>
                  </a:lnTo>
                  <a:lnTo>
                    <a:pt x="514" y="104"/>
                  </a:lnTo>
                  <a:lnTo>
                    <a:pt x="491" y="88"/>
                  </a:lnTo>
                  <a:lnTo>
                    <a:pt x="467" y="73"/>
                  </a:lnTo>
                  <a:lnTo>
                    <a:pt x="441" y="61"/>
                  </a:lnTo>
                  <a:lnTo>
                    <a:pt x="414" y="50"/>
                  </a:lnTo>
                  <a:lnTo>
                    <a:pt x="388" y="43"/>
                  </a:lnTo>
                  <a:lnTo>
                    <a:pt x="358" y="39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Microsoft YaHei"/>
                <a:cs typeface="+mn-cs"/>
              </a:endParaRPr>
            </a:p>
          </p:txBody>
        </p:sp>
        <p:sp>
          <p:nvSpPr>
            <p:cNvPr id="11" name="Freeform 77">
              <a:extLst>
                <a:ext uri="{FF2B5EF4-FFF2-40B4-BE49-F238E27FC236}">
                  <a16:creationId xmlns:a16="http://schemas.microsoft.com/office/drawing/2014/main" id="{E71E1003-BAFB-C61C-0FFF-9B6156838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913" y="1022350"/>
              <a:ext cx="193675" cy="77788"/>
            </a:xfrm>
            <a:custGeom>
              <a:avLst/>
              <a:gdLst>
                <a:gd name="T0" fmla="*/ 237 w 245"/>
                <a:gd name="T1" fmla="*/ 0 h 99"/>
                <a:gd name="T2" fmla="*/ 8 w 245"/>
                <a:gd name="T3" fmla="*/ 0 h 99"/>
                <a:gd name="T4" fmla="*/ 8 w 245"/>
                <a:gd name="T5" fmla="*/ 0 h 99"/>
                <a:gd name="T6" fmla="*/ 4 w 245"/>
                <a:gd name="T7" fmla="*/ 0 h 99"/>
                <a:gd name="T8" fmla="*/ 3 w 245"/>
                <a:gd name="T9" fmla="*/ 2 h 99"/>
                <a:gd name="T10" fmla="*/ 0 w 245"/>
                <a:gd name="T11" fmla="*/ 5 h 99"/>
                <a:gd name="T12" fmla="*/ 0 w 245"/>
                <a:gd name="T13" fmla="*/ 7 h 99"/>
                <a:gd name="T14" fmla="*/ 0 w 245"/>
                <a:gd name="T15" fmla="*/ 31 h 99"/>
                <a:gd name="T16" fmla="*/ 0 w 245"/>
                <a:gd name="T17" fmla="*/ 31 h 99"/>
                <a:gd name="T18" fmla="*/ 0 w 245"/>
                <a:gd name="T19" fmla="*/ 33 h 99"/>
                <a:gd name="T20" fmla="*/ 2 w 245"/>
                <a:gd name="T21" fmla="*/ 35 h 99"/>
                <a:gd name="T22" fmla="*/ 121 w 245"/>
                <a:gd name="T23" fmla="*/ 99 h 99"/>
                <a:gd name="T24" fmla="*/ 121 w 245"/>
                <a:gd name="T25" fmla="*/ 99 h 99"/>
                <a:gd name="T26" fmla="*/ 123 w 245"/>
                <a:gd name="T27" fmla="*/ 99 h 99"/>
                <a:gd name="T28" fmla="*/ 123 w 245"/>
                <a:gd name="T29" fmla="*/ 99 h 99"/>
                <a:gd name="T30" fmla="*/ 124 w 245"/>
                <a:gd name="T31" fmla="*/ 99 h 99"/>
                <a:gd name="T32" fmla="*/ 242 w 245"/>
                <a:gd name="T33" fmla="*/ 35 h 99"/>
                <a:gd name="T34" fmla="*/ 242 w 245"/>
                <a:gd name="T35" fmla="*/ 35 h 99"/>
                <a:gd name="T36" fmla="*/ 243 w 245"/>
                <a:gd name="T37" fmla="*/ 33 h 99"/>
                <a:gd name="T38" fmla="*/ 245 w 245"/>
                <a:gd name="T39" fmla="*/ 31 h 99"/>
                <a:gd name="T40" fmla="*/ 245 w 245"/>
                <a:gd name="T41" fmla="*/ 7 h 99"/>
                <a:gd name="T42" fmla="*/ 245 w 245"/>
                <a:gd name="T43" fmla="*/ 7 h 99"/>
                <a:gd name="T44" fmla="*/ 243 w 245"/>
                <a:gd name="T45" fmla="*/ 5 h 99"/>
                <a:gd name="T46" fmla="*/ 242 w 245"/>
                <a:gd name="T47" fmla="*/ 2 h 99"/>
                <a:gd name="T48" fmla="*/ 239 w 245"/>
                <a:gd name="T49" fmla="*/ 0 h 99"/>
                <a:gd name="T50" fmla="*/ 237 w 245"/>
                <a:gd name="T51" fmla="*/ 0 h 99"/>
                <a:gd name="T52" fmla="*/ 237 w 245"/>
                <a:gd name="T53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5" h="99">
                  <a:moveTo>
                    <a:pt x="237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2" y="35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4" y="99"/>
                  </a:lnTo>
                  <a:lnTo>
                    <a:pt x="242" y="35"/>
                  </a:lnTo>
                  <a:lnTo>
                    <a:pt x="242" y="35"/>
                  </a:lnTo>
                  <a:lnTo>
                    <a:pt x="243" y="33"/>
                  </a:lnTo>
                  <a:lnTo>
                    <a:pt x="245" y="31"/>
                  </a:lnTo>
                  <a:lnTo>
                    <a:pt x="245" y="7"/>
                  </a:lnTo>
                  <a:lnTo>
                    <a:pt x="245" y="7"/>
                  </a:lnTo>
                  <a:lnTo>
                    <a:pt x="243" y="5"/>
                  </a:lnTo>
                  <a:lnTo>
                    <a:pt x="242" y="2"/>
                  </a:lnTo>
                  <a:lnTo>
                    <a:pt x="239" y="0"/>
                  </a:lnTo>
                  <a:lnTo>
                    <a:pt x="237" y="0"/>
                  </a:lnTo>
                  <a:lnTo>
                    <a:pt x="2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Microsoft YaHei"/>
                <a:cs typeface="+mn-cs"/>
              </a:endParaRPr>
            </a:p>
          </p:txBody>
        </p:sp>
        <p:sp>
          <p:nvSpPr>
            <p:cNvPr id="12" name="Freeform 78">
              <a:extLst>
                <a:ext uri="{FF2B5EF4-FFF2-40B4-BE49-F238E27FC236}">
                  <a16:creationId xmlns:a16="http://schemas.microsoft.com/office/drawing/2014/main" id="{354D11B5-7142-75F8-F9A3-9E47F4BB9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914" y="1068389"/>
              <a:ext cx="193675" cy="109537"/>
            </a:xfrm>
            <a:custGeom>
              <a:avLst/>
              <a:gdLst>
                <a:gd name="T0" fmla="*/ 128 w 245"/>
                <a:gd name="T1" fmla="*/ 62 h 139"/>
                <a:gd name="T2" fmla="*/ 128 w 245"/>
                <a:gd name="T3" fmla="*/ 62 h 139"/>
                <a:gd name="T4" fmla="*/ 123 w 245"/>
                <a:gd name="T5" fmla="*/ 63 h 139"/>
                <a:gd name="T6" fmla="*/ 123 w 245"/>
                <a:gd name="T7" fmla="*/ 63 h 139"/>
                <a:gd name="T8" fmla="*/ 117 w 245"/>
                <a:gd name="T9" fmla="*/ 62 h 139"/>
                <a:gd name="T10" fmla="*/ 0 w 245"/>
                <a:gd name="T11" fmla="*/ 0 h 139"/>
                <a:gd name="T12" fmla="*/ 0 w 245"/>
                <a:gd name="T13" fmla="*/ 0 h 139"/>
                <a:gd name="T14" fmla="*/ 0 w 245"/>
                <a:gd name="T15" fmla="*/ 0 h 139"/>
                <a:gd name="T16" fmla="*/ 0 w 245"/>
                <a:gd name="T17" fmla="*/ 130 h 139"/>
                <a:gd name="T18" fmla="*/ 0 w 245"/>
                <a:gd name="T19" fmla="*/ 130 h 139"/>
                <a:gd name="T20" fmla="*/ 0 w 245"/>
                <a:gd name="T21" fmla="*/ 133 h 139"/>
                <a:gd name="T22" fmla="*/ 3 w 245"/>
                <a:gd name="T23" fmla="*/ 136 h 139"/>
                <a:gd name="T24" fmla="*/ 4 w 245"/>
                <a:gd name="T25" fmla="*/ 137 h 139"/>
                <a:gd name="T26" fmla="*/ 8 w 245"/>
                <a:gd name="T27" fmla="*/ 139 h 139"/>
                <a:gd name="T28" fmla="*/ 237 w 245"/>
                <a:gd name="T29" fmla="*/ 139 h 139"/>
                <a:gd name="T30" fmla="*/ 237 w 245"/>
                <a:gd name="T31" fmla="*/ 139 h 139"/>
                <a:gd name="T32" fmla="*/ 239 w 245"/>
                <a:gd name="T33" fmla="*/ 137 h 139"/>
                <a:gd name="T34" fmla="*/ 242 w 245"/>
                <a:gd name="T35" fmla="*/ 136 h 139"/>
                <a:gd name="T36" fmla="*/ 243 w 245"/>
                <a:gd name="T37" fmla="*/ 133 h 139"/>
                <a:gd name="T38" fmla="*/ 245 w 245"/>
                <a:gd name="T39" fmla="*/ 130 h 139"/>
                <a:gd name="T40" fmla="*/ 245 w 245"/>
                <a:gd name="T41" fmla="*/ 0 h 139"/>
                <a:gd name="T42" fmla="*/ 245 w 245"/>
                <a:gd name="T43" fmla="*/ 0 h 139"/>
                <a:gd name="T44" fmla="*/ 245 w 245"/>
                <a:gd name="T45" fmla="*/ 0 h 139"/>
                <a:gd name="T46" fmla="*/ 128 w 245"/>
                <a:gd name="T47" fmla="*/ 6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5" h="139">
                  <a:moveTo>
                    <a:pt x="128" y="62"/>
                  </a:moveTo>
                  <a:lnTo>
                    <a:pt x="128" y="62"/>
                  </a:lnTo>
                  <a:lnTo>
                    <a:pt x="123" y="63"/>
                  </a:lnTo>
                  <a:lnTo>
                    <a:pt x="123" y="63"/>
                  </a:lnTo>
                  <a:lnTo>
                    <a:pt x="117" y="6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33"/>
                  </a:lnTo>
                  <a:lnTo>
                    <a:pt x="3" y="136"/>
                  </a:lnTo>
                  <a:lnTo>
                    <a:pt x="4" y="137"/>
                  </a:lnTo>
                  <a:lnTo>
                    <a:pt x="8" y="139"/>
                  </a:lnTo>
                  <a:lnTo>
                    <a:pt x="237" y="139"/>
                  </a:lnTo>
                  <a:lnTo>
                    <a:pt x="237" y="139"/>
                  </a:lnTo>
                  <a:lnTo>
                    <a:pt x="239" y="137"/>
                  </a:lnTo>
                  <a:lnTo>
                    <a:pt x="242" y="136"/>
                  </a:lnTo>
                  <a:lnTo>
                    <a:pt x="243" y="133"/>
                  </a:lnTo>
                  <a:lnTo>
                    <a:pt x="245" y="130"/>
                  </a:lnTo>
                  <a:lnTo>
                    <a:pt x="245" y="0"/>
                  </a:lnTo>
                  <a:lnTo>
                    <a:pt x="245" y="0"/>
                  </a:lnTo>
                  <a:lnTo>
                    <a:pt x="245" y="0"/>
                  </a:lnTo>
                  <a:lnTo>
                    <a:pt x="128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Microsoft YaHei"/>
                <a:cs typeface="+mn-cs"/>
              </a:endParaRPr>
            </a:p>
          </p:txBody>
        </p:sp>
      </p:grpSp>
      <p:sp>
        <p:nvSpPr>
          <p:cNvPr id="13" name="Text Placeholder 44">
            <a:extLst>
              <a:ext uri="{FF2B5EF4-FFF2-40B4-BE49-F238E27FC236}">
                <a16:creationId xmlns:a16="http://schemas.microsoft.com/office/drawing/2014/main" id="{4D2369C5-E17B-31D6-B130-AAFE2A6ACF58}"/>
              </a:ext>
            </a:extLst>
          </p:cNvPr>
          <p:cNvSpPr txBox="1">
            <a:spLocks/>
          </p:cNvSpPr>
          <p:nvPr/>
        </p:nvSpPr>
        <p:spPr>
          <a:xfrm>
            <a:off x="991533" y="3656580"/>
            <a:ext cx="2035097" cy="1984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5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une, India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FB4291E-086D-6071-6AE4-9A6B7BCF7CFF}"/>
              </a:ext>
            </a:extLst>
          </p:cNvPr>
          <p:cNvGrpSpPr/>
          <p:nvPr/>
        </p:nvGrpSpPr>
        <p:grpSpPr>
          <a:xfrm>
            <a:off x="714539" y="3623698"/>
            <a:ext cx="279127" cy="278278"/>
            <a:chOff x="628607" y="6176461"/>
            <a:chExt cx="279127" cy="278278"/>
          </a:xfrm>
        </p:grpSpPr>
        <p:pic>
          <p:nvPicPr>
            <p:cNvPr id="19" name="Graphic 18" descr="Marker with solid fill">
              <a:extLst>
                <a:ext uri="{FF2B5EF4-FFF2-40B4-BE49-F238E27FC236}">
                  <a16:creationId xmlns:a16="http://schemas.microsoft.com/office/drawing/2014/main" id="{C5602867-DEE6-63BE-7A8F-302633B4AC8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51310" y="6206941"/>
              <a:ext cx="235779" cy="235779"/>
            </a:xfrm>
            <a:prstGeom prst="rect">
              <a:avLst/>
            </a:prstGeom>
          </p:spPr>
        </p:pic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68237754-A029-9D13-E8CB-88709367F8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607" y="6176461"/>
              <a:ext cx="279127" cy="278278"/>
            </a:xfrm>
            <a:custGeom>
              <a:avLst/>
              <a:gdLst>
                <a:gd name="T0" fmla="*/ 311 w 657"/>
                <a:gd name="T1" fmla="*/ 657 h 657"/>
                <a:gd name="T2" fmla="*/ 263 w 657"/>
                <a:gd name="T3" fmla="*/ 650 h 657"/>
                <a:gd name="T4" fmla="*/ 201 w 657"/>
                <a:gd name="T5" fmla="*/ 632 h 657"/>
                <a:gd name="T6" fmla="*/ 119 w 657"/>
                <a:gd name="T7" fmla="*/ 582 h 657"/>
                <a:gd name="T8" fmla="*/ 56 w 657"/>
                <a:gd name="T9" fmla="*/ 512 h 657"/>
                <a:gd name="T10" fmla="*/ 14 w 657"/>
                <a:gd name="T11" fmla="*/ 426 h 657"/>
                <a:gd name="T12" fmla="*/ 4 w 657"/>
                <a:gd name="T13" fmla="*/ 379 h 657"/>
                <a:gd name="T14" fmla="*/ 0 w 657"/>
                <a:gd name="T15" fmla="*/ 328 h 657"/>
                <a:gd name="T16" fmla="*/ 1 w 657"/>
                <a:gd name="T17" fmla="*/ 295 h 657"/>
                <a:gd name="T18" fmla="*/ 10 w 657"/>
                <a:gd name="T19" fmla="*/ 246 h 657"/>
                <a:gd name="T20" fmla="*/ 40 w 657"/>
                <a:gd name="T21" fmla="*/ 172 h 657"/>
                <a:gd name="T22" fmla="*/ 96 w 657"/>
                <a:gd name="T23" fmla="*/ 96 h 657"/>
                <a:gd name="T24" fmla="*/ 171 w 657"/>
                <a:gd name="T25" fmla="*/ 39 h 657"/>
                <a:gd name="T26" fmla="*/ 247 w 657"/>
                <a:gd name="T27" fmla="*/ 10 h 657"/>
                <a:gd name="T28" fmla="*/ 295 w 657"/>
                <a:gd name="T29" fmla="*/ 2 h 657"/>
                <a:gd name="T30" fmla="*/ 329 w 657"/>
                <a:gd name="T31" fmla="*/ 0 h 657"/>
                <a:gd name="T32" fmla="*/ 378 w 657"/>
                <a:gd name="T33" fmla="*/ 3 h 657"/>
                <a:gd name="T34" fmla="*/ 427 w 657"/>
                <a:gd name="T35" fmla="*/ 15 h 657"/>
                <a:gd name="T36" fmla="*/ 512 w 657"/>
                <a:gd name="T37" fmla="*/ 56 h 657"/>
                <a:gd name="T38" fmla="*/ 582 w 657"/>
                <a:gd name="T39" fmla="*/ 120 h 657"/>
                <a:gd name="T40" fmla="*/ 631 w 657"/>
                <a:gd name="T41" fmla="*/ 201 h 657"/>
                <a:gd name="T42" fmla="*/ 651 w 657"/>
                <a:gd name="T43" fmla="*/ 262 h 657"/>
                <a:gd name="T44" fmla="*/ 656 w 657"/>
                <a:gd name="T45" fmla="*/ 312 h 657"/>
                <a:gd name="T46" fmla="*/ 656 w 657"/>
                <a:gd name="T47" fmla="*/ 346 h 657"/>
                <a:gd name="T48" fmla="*/ 651 w 657"/>
                <a:gd name="T49" fmla="*/ 395 h 657"/>
                <a:gd name="T50" fmla="*/ 631 w 657"/>
                <a:gd name="T51" fmla="*/ 457 h 657"/>
                <a:gd name="T52" fmla="*/ 582 w 657"/>
                <a:gd name="T53" fmla="*/ 538 h 657"/>
                <a:gd name="T54" fmla="*/ 512 w 657"/>
                <a:gd name="T55" fmla="*/ 601 h 657"/>
                <a:gd name="T56" fmla="*/ 427 w 657"/>
                <a:gd name="T57" fmla="*/ 642 h 657"/>
                <a:gd name="T58" fmla="*/ 378 w 657"/>
                <a:gd name="T59" fmla="*/ 653 h 657"/>
                <a:gd name="T60" fmla="*/ 329 w 657"/>
                <a:gd name="T61" fmla="*/ 657 h 657"/>
                <a:gd name="T62" fmla="*/ 329 w 657"/>
                <a:gd name="T63" fmla="*/ 38 h 657"/>
                <a:gd name="T64" fmla="*/ 243 w 657"/>
                <a:gd name="T65" fmla="*/ 50 h 657"/>
                <a:gd name="T66" fmla="*/ 166 w 657"/>
                <a:gd name="T67" fmla="*/ 88 h 657"/>
                <a:gd name="T68" fmla="*/ 104 w 657"/>
                <a:gd name="T69" fmla="*/ 144 h 657"/>
                <a:gd name="T70" fmla="*/ 60 w 657"/>
                <a:gd name="T71" fmla="*/ 215 h 657"/>
                <a:gd name="T72" fmla="*/ 39 w 657"/>
                <a:gd name="T73" fmla="*/ 299 h 657"/>
                <a:gd name="T74" fmla="*/ 39 w 657"/>
                <a:gd name="T75" fmla="*/ 358 h 657"/>
                <a:gd name="T76" fmla="*/ 60 w 657"/>
                <a:gd name="T77" fmla="*/ 442 h 657"/>
                <a:gd name="T78" fmla="*/ 104 w 657"/>
                <a:gd name="T79" fmla="*/ 513 h 657"/>
                <a:gd name="T80" fmla="*/ 166 w 657"/>
                <a:gd name="T81" fmla="*/ 570 h 657"/>
                <a:gd name="T82" fmla="*/ 243 w 657"/>
                <a:gd name="T83" fmla="*/ 606 h 657"/>
                <a:gd name="T84" fmla="*/ 329 w 657"/>
                <a:gd name="T85" fmla="*/ 620 h 657"/>
                <a:gd name="T86" fmla="*/ 388 w 657"/>
                <a:gd name="T87" fmla="*/ 614 h 657"/>
                <a:gd name="T88" fmla="*/ 467 w 657"/>
                <a:gd name="T89" fmla="*/ 585 h 657"/>
                <a:gd name="T90" fmla="*/ 534 w 657"/>
                <a:gd name="T91" fmla="*/ 535 h 657"/>
                <a:gd name="T92" fmla="*/ 584 w 657"/>
                <a:gd name="T93" fmla="*/ 468 h 657"/>
                <a:gd name="T94" fmla="*/ 613 w 657"/>
                <a:gd name="T95" fmla="*/ 387 h 657"/>
                <a:gd name="T96" fmla="*/ 620 w 657"/>
                <a:gd name="T97" fmla="*/ 328 h 657"/>
                <a:gd name="T98" fmla="*/ 606 w 657"/>
                <a:gd name="T99" fmla="*/ 242 h 657"/>
                <a:gd name="T100" fmla="*/ 570 w 657"/>
                <a:gd name="T101" fmla="*/ 166 h 657"/>
                <a:gd name="T102" fmla="*/ 514 w 657"/>
                <a:gd name="T103" fmla="*/ 104 h 657"/>
                <a:gd name="T104" fmla="*/ 441 w 657"/>
                <a:gd name="T105" fmla="*/ 61 h 657"/>
                <a:gd name="T106" fmla="*/ 358 w 657"/>
                <a:gd name="T107" fmla="*/ 39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7">
                  <a:moveTo>
                    <a:pt x="329" y="657"/>
                  </a:moveTo>
                  <a:lnTo>
                    <a:pt x="329" y="657"/>
                  </a:lnTo>
                  <a:lnTo>
                    <a:pt x="311" y="657"/>
                  </a:lnTo>
                  <a:lnTo>
                    <a:pt x="295" y="656"/>
                  </a:lnTo>
                  <a:lnTo>
                    <a:pt x="279" y="653"/>
                  </a:lnTo>
                  <a:lnTo>
                    <a:pt x="263" y="650"/>
                  </a:lnTo>
                  <a:lnTo>
                    <a:pt x="247" y="646"/>
                  </a:lnTo>
                  <a:lnTo>
                    <a:pt x="231" y="642"/>
                  </a:lnTo>
                  <a:lnTo>
                    <a:pt x="201" y="632"/>
                  </a:lnTo>
                  <a:lnTo>
                    <a:pt x="171" y="617"/>
                  </a:lnTo>
                  <a:lnTo>
                    <a:pt x="145" y="601"/>
                  </a:lnTo>
                  <a:lnTo>
                    <a:pt x="119" y="582"/>
                  </a:lnTo>
                  <a:lnTo>
                    <a:pt x="96" y="560"/>
                  </a:lnTo>
                  <a:lnTo>
                    <a:pt x="75" y="538"/>
                  </a:lnTo>
                  <a:lnTo>
                    <a:pt x="56" y="512"/>
                  </a:lnTo>
                  <a:lnTo>
                    <a:pt x="40" y="485"/>
                  </a:lnTo>
                  <a:lnTo>
                    <a:pt x="25" y="457"/>
                  </a:lnTo>
                  <a:lnTo>
                    <a:pt x="14" y="426"/>
                  </a:lnTo>
                  <a:lnTo>
                    <a:pt x="10" y="410"/>
                  </a:lnTo>
                  <a:lnTo>
                    <a:pt x="6" y="395"/>
                  </a:lnTo>
                  <a:lnTo>
                    <a:pt x="4" y="379"/>
                  </a:lnTo>
                  <a:lnTo>
                    <a:pt x="1" y="362"/>
                  </a:lnTo>
                  <a:lnTo>
                    <a:pt x="0" y="346"/>
                  </a:lnTo>
                  <a:lnTo>
                    <a:pt x="0" y="328"/>
                  </a:lnTo>
                  <a:lnTo>
                    <a:pt x="0" y="328"/>
                  </a:lnTo>
                  <a:lnTo>
                    <a:pt x="0" y="312"/>
                  </a:lnTo>
                  <a:lnTo>
                    <a:pt x="1" y="295"/>
                  </a:lnTo>
                  <a:lnTo>
                    <a:pt x="4" y="278"/>
                  </a:lnTo>
                  <a:lnTo>
                    <a:pt x="6" y="262"/>
                  </a:lnTo>
                  <a:lnTo>
                    <a:pt x="10" y="246"/>
                  </a:lnTo>
                  <a:lnTo>
                    <a:pt x="14" y="231"/>
                  </a:lnTo>
                  <a:lnTo>
                    <a:pt x="25" y="201"/>
                  </a:lnTo>
                  <a:lnTo>
                    <a:pt x="40" y="172"/>
                  </a:lnTo>
                  <a:lnTo>
                    <a:pt x="56" y="145"/>
                  </a:lnTo>
                  <a:lnTo>
                    <a:pt x="75" y="120"/>
                  </a:lnTo>
                  <a:lnTo>
                    <a:pt x="96" y="96"/>
                  </a:lnTo>
                  <a:lnTo>
                    <a:pt x="119" y="76"/>
                  </a:lnTo>
                  <a:lnTo>
                    <a:pt x="145" y="56"/>
                  </a:lnTo>
                  <a:lnTo>
                    <a:pt x="171" y="39"/>
                  </a:lnTo>
                  <a:lnTo>
                    <a:pt x="201" y="26"/>
                  </a:lnTo>
                  <a:lnTo>
                    <a:pt x="231" y="15"/>
                  </a:lnTo>
                  <a:lnTo>
                    <a:pt x="247" y="10"/>
                  </a:lnTo>
                  <a:lnTo>
                    <a:pt x="263" y="7"/>
                  </a:lnTo>
                  <a:lnTo>
                    <a:pt x="279" y="3"/>
                  </a:lnTo>
                  <a:lnTo>
                    <a:pt x="295" y="2"/>
                  </a:lnTo>
                  <a:lnTo>
                    <a:pt x="311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0"/>
                  </a:lnTo>
                  <a:lnTo>
                    <a:pt x="362" y="2"/>
                  </a:lnTo>
                  <a:lnTo>
                    <a:pt x="378" y="3"/>
                  </a:lnTo>
                  <a:lnTo>
                    <a:pt x="394" y="7"/>
                  </a:lnTo>
                  <a:lnTo>
                    <a:pt x="410" y="10"/>
                  </a:lnTo>
                  <a:lnTo>
                    <a:pt x="427" y="15"/>
                  </a:lnTo>
                  <a:lnTo>
                    <a:pt x="456" y="26"/>
                  </a:lnTo>
                  <a:lnTo>
                    <a:pt x="484" y="39"/>
                  </a:lnTo>
                  <a:lnTo>
                    <a:pt x="512" y="56"/>
                  </a:lnTo>
                  <a:lnTo>
                    <a:pt x="538" y="76"/>
                  </a:lnTo>
                  <a:lnTo>
                    <a:pt x="561" y="96"/>
                  </a:lnTo>
                  <a:lnTo>
                    <a:pt x="582" y="120"/>
                  </a:lnTo>
                  <a:lnTo>
                    <a:pt x="601" y="145"/>
                  </a:lnTo>
                  <a:lnTo>
                    <a:pt x="617" y="172"/>
                  </a:lnTo>
                  <a:lnTo>
                    <a:pt x="631" y="201"/>
                  </a:lnTo>
                  <a:lnTo>
                    <a:pt x="643" y="231"/>
                  </a:lnTo>
                  <a:lnTo>
                    <a:pt x="647" y="246"/>
                  </a:lnTo>
                  <a:lnTo>
                    <a:pt x="651" y="262"/>
                  </a:lnTo>
                  <a:lnTo>
                    <a:pt x="653" y="278"/>
                  </a:lnTo>
                  <a:lnTo>
                    <a:pt x="655" y="295"/>
                  </a:lnTo>
                  <a:lnTo>
                    <a:pt x="656" y="312"/>
                  </a:lnTo>
                  <a:lnTo>
                    <a:pt x="657" y="328"/>
                  </a:lnTo>
                  <a:lnTo>
                    <a:pt x="657" y="328"/>
                  </a:lnTo>
                  <a:lnTo>
                    <a:pt x="656" y="346"/>
                  </a:lnTo>
                  <a:lnTo>
                    <a:pt x="655" y="362"/>
                  </a:lnTo>
                  <a:lnTo>
                    <a:pt x="653" y="379"/>
                  </a:lnTo>
                  <a:lnTo>
                    <a:pt x="651" y="395"/>
                  </a:lnTo>
                  <a:lnTo>
                    <a:pt x="647" y="410"/>
                  </a:lnTo>
                  <a:lnTo>
                    <a:pt x="643" y="426"/>
                  </a:lnTo>
                  <a:lnTo>
                    <a:pt x="631" y="457"/>
                  </a:lnTo>
                  <a:lnTo>
                    <a:pt x="617" y="485"/>
                  </a:lnTo>
                  <a:lnTo>
                    <a:pt x="601" y="512"/>
                  </a:lnTo>
                  <a:lnTo>
                    <a:pt x="582" y="538"/>
                  </a:lnTo>
                  <a:lnTo>
                    <a:pt x="561" y="560"/>
                  </a:lnTo>
                  <a:lnTo>
                    <a:pt x="538" y="582"/>
                  </a:lnTo>
                  <a:lnTo>
                    <a:pt x="512" y="601"/>
                  </a:lnTo>
                  <a:lnTo>
                    <a:pt x="484" y="617"/>
                  </a:lnTo>
                  <a:lnTo>
                    <a:pt x="456" y="632"/>
                  </a:lnTo>
                  <a:lnTo>
                    <a:pt x="427" y="642"/>
                  </a:lnTo>
                  <a:lnTo>
                    <a:pt x="410" y="646"/>
                  </a:lnTo>
                  <a:lnTo>
                    <a:pt x="394" y="650"/>
                  </a:lnTo>
                  <a:lnTo>
                    <a:pt x="378" y="653"/>
                  </a:lnTo>
                  <a:lnTo>
                    <a:pt x="362" y="656"/>
                  </a:lnTo>
                  <a:lnTo>
                    <a:pt x="345" y="657"/>
                  </a:lnTo>
                  <a:lnTo>
                    <a:pt x="329" y="657"/>
                  </a:lnTo>
                  <a:lnTo>
                    <a:pt x="329" y="657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299" y="39"/>
                  </a:lnTo>
                  <a:lnTo>
                    <a:pt x="269" y="43"/>
                  </a:lnTo>
                  <a:lnTo>
                    <a:pt x="243" y="50"/>
                  </a:lnTo>
                  <a:lnTo>
                    <a:pt x="216" y="61"/>
                  </a:lnTo>
                  <a:lnTo>
                    <a:pt x="190" y="73"/>
                  </a:lnTo>
                  <a:lnTo>
                    <a:pt x="166" y="88"/>
                  </a:lnTo>
                  <a:lnTo>
                    <a:pt x="143" y="104"/>
                  </a:lnTo>
                  <a:lnTo>
                    <a:pt x="123" y="123"/>
                  </a:lnTo>
                  <a:lnTo>
                    <a:pt x="104" y="144"/>
                  </a:lnTo>
                  <a:lnTo>
                    <a:pt x="87" y="166"/>
                  </a:lnTo>
                  <a:lnTo>
                    <a:pt x="72" y="190"/>
                  </a:lnTo>
                  <a:lnTo>
                    <a:pt x="60" y="215"/>
                  </a:lnTo>
                  <a:lnTo>
                    <a:pt x="51" y="242"/>
                  </a:lnTo>
                  <a:lnTo>
                    <a:pt x="44" y="270"/>
                  </a:lnTo>
                  <a:lnTo>
                    <a:pt x="39" y="299"/>
                  </a:lnTo>
                  <a:lnTo>
                    <a:pt x="37" y="328"/>
                  </a:lnTo>
                  <a:lnTo>
                    <a:pt x="37" y="328"/>
                  </a:lnTo>
                  <a:lnTo>
                    <a:pt x="39" y="358"/>
                  </a:lnTo>
                  <a:lnTo>
                    <a:pt x="44" y="387"/>
                  </a:lnTo>
                  <a:lnTo>
                    <a:pt x="51" y="415"/>
                  </a:lnTo>
                  <a:lnTo>
                    <a:pt x="60" y="442"/>
                  </a:lnTo>
                  <a:lnTo>
                    <a:pt x="72" y="468"/>
                  </a:lnTo>
                  <a:lnTo>
                    <a:pt x="87" y="491"/>
                  </a:lnTo>
                  <a:lnTo>
                    <a:pt x="104" y="513"/>
                  </a:lnTo>
                  <a:lnTo>
                    <a:pt x="123" y="535"/>
                  </a:lnTo>
                  <a:lnTo>
                    <a:pt x="143" y="554"/>
                  </a:lnTo>
                  <a:lnTo>
                    <a:pt x="166" y="570"/>
                  </a:lnTo>
                  <a:lnTo>
                    <a:pt x="190" y="585"/>
                  </a:lnTo>
                  <a:lnTo>
                    <a:pt x="216" y="597"/>
                  </a:lnTo>
                  <a:lnTo>
                    <a:pt x="243" y="606"/>
                  </a:lnTo>
                  <a:lnTo>
                    <a:pt x="269" y="614"/>
                  </a:lnTo>
                  <a:lnTo>
                    <a:pt x="299" y="618"/>
                  </a:lnTo>
                  <a:lnTo>
                    <a:pt x="329" y="620"/>
                  </a:lnTo>
                  <a:lnTo>
                    <a:pt x="329" y="620"/>
                  </a:lnTo>
                  <a:lnTo>
                    <a:pt x="358" y="618"/>
                  </a:lnTo>
                  <a:lnTo>
                    <a:pt x="388" y="614"/>
                  </a:lnTo>
                  <a:lnTo>
                    <a:pt x="414" y="606"/>
                  </a:lnTo>
                  <a:lnTo>
                    <a:pt x="441" y="597"/>
                  </a:lnTo>
                  <a:lnTo>
                    <a:pt x="467" y="585"/>
                  </a:lnTo>
                  <a:lnTo>
                    <a:pt x="491" y="570"/>
                  </a:lnTo>
                  <a:lnTo>
                    <a:pt x="514" y="554"/>
                  </a:lnTo>
                  <a:lnTo>
                    <a:pt x="534" y="535"/>
                  </a:lnTo>
                  <a:lnTo>
                    <a:pt x="553" y="513"/>
                  </a:lnTo>
                  <a:lnTo>
                    <a:pt x="570" y="491"/>
                  </a:lnTo>
                  <a:lnTo>
                    <a:pt x="584" y="468"/>
                  </a:lnTo>
                  <a:lnTo>
                    <a:pt x="597" y="442"/>
                  </a:lnTo>
                  <a:lnTo>
                    <a:pt x="606" y="415"/>
                  </a:lnTo>
                  <a:lnTo>
                    <a:pt x="613" y="387"/>
                  </a:lnTo>
                  <a:lnTo>
                    <a:pt x="619" y="358"/>
                  </a:lnTo>
                  <a:lnTo>
                    <a:pt x="620" y="328"/>
                  </a:lnTo>
                  <a:lnTo>
                    <a:pt x="620" y="328"/>
                  </a:lnTo>
                  <a:lnTo>
                    <a:pt x="619" y="299"/>
                  </a:lnTo>
                  <a:lnTo>
                    <a:pt x="613" y="270"/>
                  </a:lnTo>
                  <a:lnTo>
                    <a:pt x="606" y="242"/>
                  </a:lnTo>
                  <a:lnTo>
                    <a:pt x="597" y="215"/>
                  </a:lnTo>
                  <a:lnTo>
                    <a:pt x="584" y="190"/>
                  </a:lnTo>
                  <a:lnTo>
                    <a:pt x="570" y="166"/>
                  </a:lnTo>
                  <a:lnTo>
                    <a:pt x="553" y="144"/>
                  </a:lnTo>
                  <a:lnTo>
                    <a:pt x="534" y="123"/>
                  </a:lnTo>
                  <a:lnTo>
                    <a:pt x="514" y="104"/>
                  </a:lnTo>
                  <a:lnTo>
                    <a:pt x="491" y="88"/>
                  </a:lnTo>
                  <a:lnTo>
                    <a:pt x="467" y="73"/>
                  </a:lnTo>
                  <a:lnTo>
                    <a:pt x="441" y="61"/>
                  </a:lnTo>
                  <a:lnTo>
                    <a:pt x="414" y="50"/>
                  </a:lnTo>
                  <a:lnTo>
                    <a:pt x="388" y="43"/>
                  </a:lnTo>
                  <a:lnTo>
                    <a:pt x="358" y="39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Microsoft YaHei"/>
                <a:cs typeface="+mn-cs"/>
              </a:endParaRPr>
            </a:p>
          </p:txBody>
        </p:sp>
      </p:grpSp>
      <p:sp>
        <p:nvSpPr>
          <p:cNvPr id="27" name="Google Shape;117;p14">
            <a:extLst>
              <a:ext uri="{FF2B5EF4-FFF2-40B4-BE49-F238E27FC236}">
                <a16:creationId xmlns:a16="http://schemas.microsoft.com/office/drawing/2014/main" id="{D64A5C41-5EF4-6E0F-07B1-81DCC5FD6E21}"/>
              </a:ext>
            </a:extLst>
          </p:cNvPr>
          <p:cNvSpPr txBox="1"/>
          <p:nvPr/>
        </p:nvSpPr>
        <p:spPr>
          <a:xfrm>
            <a:off x="11511454" y="461426"/>
            <a:ext cx="472331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TE</a:t>
            </a:r>
            <a:endParaRPr sz="18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876932ED-489B-EFD7-DDDC-501D8E3A589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53" b="11113"/>
          <a:stretch>
            <a:fillRect/>
          </a:stretch>
        </p:blipFill>
        <p:spPr>
          <a:xfrm>
            <a:off x="896063" y="1256824"/>
            <a:ext cx="1596498" cy="1510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3127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wamWJRxav7sz7hdJ6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Default Design">
  <a:themeElements>
    <a:clrScheme name="Walmart">
      <a:dk1>
        <a:sysClr val="windowText" lastClr="000000"/>
      </a:dk1>
      <a:lt1>
        <a:sysClr val="window" lastClr="FFFFFF"/>
      </a:lt1>
      <a:dk2>
        <a:srgbClr val="004C91"/>
      </a:dk2>
      <a:lt2>
        <a:srgbClr val="EEECE1"/>
      </a:lt2>
      <a:accent1>
        <a:srgbClr val="007DC6"/>
      </a:accent1>
      <a:accent2>
        <a:srgbClr val="FFC220"/>
      </a:accent2>
      <a:accent3>
        <a:srgbClr val="76C043"/>
      </a:accent3>
      <a:accent4>
        <a:srgbClr val="F47321"/>
      </a:accent4>
      <a:accent5>
        <a:srgbClr val="004C91"/>
      </a:accent5>
      <a:accent6>
        <a:srgbClr val="367C2B"/>
      </a:accent6>
      <a:hlink>
        <a:srgbClr val="0000FF"/>
      </a:hlink>
      <a:folHlink>
        <a:srgbClr val="800080"/>
      </a:folHlink>
    </a:clrScheme>
    <a:fontScheme name="Custom 1">
      <a:majorFont>
        <a:latin typeface="Century Gothic"/>
        <a:ea typeface="Microsoft YaHei"/>
        <a:cs typeface=""/>
      </a:majorFont>
      <a:minorFont>
        <a:latin typeface="Calibri Light"/>
        <a:ea typeface="Microsoft YaHei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 err="1" smtClean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</a:tx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79</TotalTime>
  <Words>367</Words>
  <Application>Microsoft Office PowerPoint</Application>
  <PresentationFormat>Widescreen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Arial</vt:lpstr>
      <vt:lpstr>Calibri</vt:lpstr>
      <vt:lpstr>Calibri Light</vt:lpstr>
      <vt:lpstr>Chronicle Display Black</vt:lpstr>
      <vt:lpstr>Estrangelo Edessa</vt:lpstr>
      <vt:lpstr>Nexa Black</vt:lpstr>
      <vt:lpstr>Open Sans</vt:lpstr>
      <vt:lpstr>Times</vt:lpstr>
      <vt:lpstr>Verdana</vt:lpstr>
      <vt:lpstr>2_Default Design</vt:lpstr>
      <vt:lpstr>think-cell Slide</vt:lpstr>
      <vt:lpstr>Girish Nai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04.1 - Deloitte Proposed Java Full Stack Developers- Summary</dc:title>
  <dc:creator>Arun Gopalakrishnan</dc:creator>
  <cp:lastModifiedBy>Girish Naik</cp:lastModifiedBy>
  <cp:revision>23</cp:revision>
  <dcterms:created xsi:type="dcterms:W3CDTF">2023-06-30T16:13:08Z</dcterms:created>
  <dcterms:modified xsi:type="dcterms:W3CDTF">2026-01-30T06:44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6-30T16:13:08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6af98d33-0831-4d4d-a25a-1dea0f6c199b</vt:lpwstr>
  </property>
  <property fmtid="{D5CDD505-2E9C-101B-9397-08002B2CF9AE}" pid="8" name="MSIP_Label_ea60d57e-af5b-4752-ac57-3e4f28ca11dc_ContentBits">
    <vt:lpwstr>0</vt:lpwstr>
  </property>
</Properties>
</file>